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9"/>
  </p:notesMasterIdLst>
  <p:sldIdLst>
    <p:sldId id="3460" r:id="rId2"/>
    <p:sldId id="3466" r:id="rId3"/>
    <p:sldId id="3465" r:id="rId4"/>
    <p:sldId id="3461" r:id="rId5"/>
    <p:sldId id="920" r:id="rId6"/>
    <p:sldId id="664" r:id="rId7"/>
    <p:sldId id="926" r:id="rId8"/>
    <p:sldId id="1019" r:id="rId9"/>
    <p:sldId id="2836" r:id="rId10"/>
    <p:sldId id="928" r:id="rId11"/>
    <p:sldId id="924" r:id="rId12"/>
    <p:sldId id="2789" r:id="rId13"/>
    <p:sldId id="665" r:id="rId14"/>
    <p:sldId id="682" r:id="rId15"/>
    <p:sldId id="684" r:id="rId16"/>
    <p:sldId id="936" r:id="rId17"/>
    <p:sldId id="938" r:id="rId18"/>
    <p:sldId id="945" r:id="rId19"/>
    <p:sldId id="1252" r:id="rId20"/>
    <p:sldId id="953" r:id="rId21"/>
    <p:sldId id="852" r:id="rId22"/>
    <p:sldId id="1253" r:id="rId23"/>
    <p:sldId id="964" r:id="rId24"/>
    <p:sldId id="2837" r:id="rId25"/>
    <p:sldId id="1223" r:id="rId26"/>
    <p:sldId id="989" r:id="rId27"/>
    <p:sldId id="990" r:id="rId28"/>
    <p:sldId id="1623" r:id="rId29"/>
    <p:sldId id="1165" r:id="rId30"/>
    <p:sldId id="969" r:id="rId31"/>
    <p:sldId id="970" r:id="rId32"/>
    <p:sldId id="971" r:id="rId33"/>
    <p:sldId id="2838" r:id="rId34"/>
    <p:sldId id="972" r:id="rId35"/>
    <p:sldId id="1254" r:id="rId36"/>
    <p:sldId id="3463" r:id="rId37"/>
    <p:sldId id="3464" r:id="rId38"/>
  </p:sldIdLst>
  <p:sldSz cx="12192000" cy="6858000"/>
  <p:notesSz cx="6858000" cy="9144000"/>
  <p:defaultTextStyle>
    <a:defPPr>
      <a:defRPr lang="zh-CN"/>
    </a:defPPr>
    <a:lvl1pPr algn="l" rtl="0" fontAlgn="base">
      <a:spcBef>
        <a:spcPct val="0"/>
      </a:spcBef>
      <a:spcAft>
        <a:spcPct val="0"/>
      </a:spcAft>
      <a:buFont typeface="Arial" pitchFamily="34" charset="0"/>
      <a:defRPr kern="1200">
        <a:solidFill>
          <a:schemeClr val="tx1"/>
        </a:solidFill>
        <a:latin typeface="Tw Cen MT" pitchFamily="34" charset="0"/>
        <a:ea typeface="微软雅黑" pitchFamily="34" charset="-122"/>
        <a:cs typeface="+mn-cs"/>
      </a:defRPr>
    </a:lvl1pPr>
    <a:lvl2pPr marL="457200" algn="l" rtl="0" fontAlgn="base">
      <a:spcBef>
        <a:spcPct val="0"/>
      </a:spcBef>
      <a:spcAft>
        <a:spcPct val="0"/>
      </a:spcAft>
      <a:buFont typeface="Arial" pitchFamily="34" charset="0"/>
      <a:defRPr kern="1200">
        <a:solidFill>
          <a:schemeClr val="tx1"/>
        </a:solidFill>
        <a:latin typeface="Tw Cen MT" pitchFamily="34" charset="0"/>
        <a:ea typeface="微软雅黑" pitchFamily="34" charset="-122"/>
        <a:cs typeface="+mn-cs"/>
      </a:defRPr>
    </a:lvl2pPr>
    <a:lvl3pPr marL="914400" algn="l" rtl="0" fontAlgn="base">
      <a:spcBef>
        <a:spcPct val="0"/>
      </a:spcBef>
      <a:spcAft>
        <a:spcPct val="0"/>
      </a:spcAft>
      <a:buFont typeface="Arial" pitchFamily="34" charset="0"/>
      <a:defRPr kern="1200">
        <a:solidFill>
          <a:schemeClr val="tx1"/>
        </a:solidFill>
        <a:latin typeface="Tw Cen MT" pitchFamily="34" charset="0"/>
        <a:ea typeface="微软雅黑" pitchFamily="34" charset="-122"/>
        <a:cs typeface="+mn-cs"/>
      </a:defRPr>
    </a:lvl3pPr>
    <a:lvl4pPr marL="1371600" algn="l" rtl="0" fontAlgn="base">
      <a:spcBef>
        <a:spcPct val="0"/>
      </a:spcBef>
      <a:spcAft>
        <a:spcPct val="0"/>
      </a:spcAft>
      <a:buFont typeface="Arial" pitchFamily="34" charset="0"/>
      <a:defRPr kern="1200">
        <a:solidFill>
          <a:schemeClr val="tx1"/>
        </a:solidFill>
        <a:latin typeface="Tw Cen MT" pitchFamily="34" charset="0"/>
        <a:ea typeface="微软雅黑" pitchFamily="34" charset="-122"/>
        <a:cs typeface="+mn-cs"/>
      </a:defRPr>
    </a:lvl4pPr>
    <a:lvl5pPr marL="1828800" algn="l" rtl="0" fontAlgn="base">
      <a:spcBef>
        <a:spcPct val="0"/>
      </a:spcBef>
      <a:spcAft>
        <a:spcPct val="0"/>
      </a:spcAft>
      <a:buFont typeface="Arial" pitchFamily="34" charset="0"/>
      <a:defRPr kern="1200">
        <a:solidFill>
          <a:schemeClr val="tx1"/>
        </a:solidFill>
        <a:latin typeface="Tw Cen MT" pitchFamily="34" charset="0"/>
        <a:ea typeface="微软雅黑" pitchFamily="34" charset="-122"/>
        <a:cs typeface="+mn-cs"/>
      </a:defRPr>
    </a:lvl5pPr>
    <a:lvl6pPr marL="2286000" algn="l" defTabSz="914400" rtl="0" eaLnBrk="1" latinLnBrk="0" hangingPunct="1">
      <a:defRPr kern="1200">
        <a:solidFill>
          <a:schemeClr val="tx1"/>
        </a:solidFill>
        <a:latin typeface="Tw Cen MT" pitchFamily="34" charset="0"/>
        <a:ea typeface="微软雅黑" pitchFamily="34" charset="-122"/>
        <a:cs typeface="+mn-cs"/>
      </a:defRPr>
    </a:lvl6pPr>
    <a:lvl7pPr marL="2743200" algn="l" defTabSz="914400" rtl="0" eaLnBrk="1" latinLnBrk="0" hangingPunct="1">
      <a:defRPr kern="1200">
        <a:solidFill>
          <a:schemeClr val="tx1"/>
        </a:solidFill>
        <a:latin typeface="Tw Cen MT" pitchFamily="34" charset="0"/>
        <a:ea typeface="微软雅黑" pitchFamily="34" charset="-122"/>
        <a:cs typeface="+mn-cs"/>
      </a:defRPr>
    </a:lvl7pPr>
    <a:lvl8pPr marL="3200400" algn="l" defTabSz="914400" rtl="0" eaLnBrk="1" latinLnBrk="0" hangingPunct="1">
      <a:defRPr kern="1200">
        <a:solidFill>
          <a:schemeClr val="tx1"/>
        </a:solidFill>
        <a:latin typeface="Tw Cen MT" pitchFamily="34" charset="0"/>
        <a:ea typeface="微软雅黑" pitchFamily="34" charset="-122"/>
        <a:cs typeface="+mn-cs"/>
      </a:defRPr>
    </a:lvl8pPr>
    <a:lvl9pPr marL="3657600" algn="l" defTabSz="914400" rtl="0" eaLnBrk="1" latinLnBrk="0" hangingPunct="1">
      <a:defRPr kern="1200">
        <a:solidFill>
          <a:schemeClr val="tx1"/>
        </a:solidFill>
        <a:latin typeface="Tw Cen MT" pitchFamily="34" charset="0"/>
        <a:ea typeface="微软雅黑" pitchFamily="34" charset="-122"/>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 lastIdx="1" clrIdx="0"/>
  <p:cmAuthor id="1" name="yh" initials="" lastIdx="280" clrIdx="0"/>
  <p:cmAuthor id="2" name="Dina Kamal" initials="" lastIdx="3" clrIdx="0"/>
  <p:cmAuthor id="3" name="作者" initials=""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B050"/>
    <a:srgbClr val="3A5E8B"/>
    <a:srgbClr val="71863F"/>
    <a:srgbClr val="0000FF"/>
    <a:srgbClr val="0066FF"/>
    <a:srgbClr val="0324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464" autoAdjust="0"/>
    <p:restoredTop sz="90351" autoAdjust="0"/>
  </p:normalViewPr>
  <p:slideViewPr>
    <p:cSldViewPr snapToGrid="0">
      <p:cViewPr>
        <p:scale>
          <a:sx n="75" d="100"/>
          <a:sy n="75" d="100"/>
        </p:scale>
        <p:origin x="-282" y="-102"/>
      </p:cViewPr>
      <p:guideLst>
        <p:guide orient="horz" pos="1988"/>
        <p:guide pos="3856"/>
      </p:guideLst>
    </p:cSldViewPr>
  </p:slideViewPr>
  <p:notesTextViewPr>
    <p:cViewPr>
      <p:scale>
        <a:sx n="1" d="1"/>
        <a:sy n="1" d="1"/>
      </p:scale>
      <p:origin x="0" y="0"/>
    </p:cViewPr>
  </p:notesTextViewPr>
  <p:gridSpacing cx="72005" cy="72005"/>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4#1">
  <dgm:title val=""/>
  <dgm:desc val=""/>
  <dgm:catLst>
    <dgm:cat type="colorful" pri="10400"/>
  </dgm:catLst>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53BE15EA-771A-479C-80CB-E2E3335886D5}" type="doc">
      <dgm:prSet loTypeId="urn:microsoft.com/office/officeart/2005/8/layout/cycle6#1" loCatId="relationship" qsTypeId="urn:microsoft.com/office/officeart/2005/8/quickstyle/simple1#1" qsCatId="simple" csTypeId="urn:microsoft.com/office/officeart/2005/8/colors/colorful4#1" csCatId="colorful" phldr="1"/>
      <dgm:spPr/>
      <dgm:t>
        <a:bodyPr/>
        <a:lstStyle/>
        <a:p>
          <a:endParaRPr lang="zh-CN" altLang="en-US"/>
        </a:p>
      </dgm:t>
    </dgm:pt>
    <dgm:pt modelId="{70F0F4AB-9BA9-495D-B150-D2E3465040B3}">
      <dgm:prSet phldrT="[文本]" custT="1"/>
      <dgm:spPr/>
      <dgm:t>
        <a:bodyPr/>
        <a:lstStyle/>
        <a:p>
          <a:r>
            <a:rPr lang="zh-CN" altLang="en-US" sz="1400" b="1" dirty="0"/>
            <a:t>具体</a:t>
          </a:r>
        </a:p>
      </dgm:t>
    </dgm:pt>
    <dgm:pt modelId="{F779679F-6882-427B-9AE7-005E0911C455}" type="parTrans" cxnId="{24A0AA41-D718-44E4-ABB8-35D701031C99}">
      <dgm:prSet/>
      <dgm:spPr/>
      <dgm:t>
        <a:bodyPr/>
        <a:lstStyle/>
        <a:p>
          <a:endParaRPr lang="zh-CN" altLang="en-US" sz="2000" b="1"/>
        </a:p>
      </dgm:t>
    </dgm:pt>
    <dgm:pt modelId="{09FD36C0-F25B-4F63-A4BA-52A5BD92E52A}" type="sibTrans" cxnId="{24A0AA41-D718-44E4-ABB8-35D701031C99}">
      <dgm:prSet/>
      <dgm:spPr/>
      <dgm:t>
        <a:bodyPr/>
        <a:lstStyle/>
        <a:p>
          <a:endParaRPr lang="zh-CN" altLang="en-US" sz="2000" b="1"/>
        </a:p>
      </dgm:t>
    </dgm:pt>
    <dgm:pt modelId="{567F9FE0-2774-4670-9DFB-D6961C6AF389}">
      <dgm:prSet custT="1"/>
      <dgm:spPr/>
      <dgm:t>
        <a:bodyPr/>
        <a:lstStyle/>
        <a:p>
          <a:r>
            <a:rPr lang="zh-CN" altLang="en-US" sz="1400" b="1" dirty="0"/>
            <a:t>时限</a:t>
          </a:r>
        </a:p>
      </dgm:t>
    </dgm:pt>
    <dgm:pt modelId="{90282451-12CB-4269-B9D7-75483A7B5B89}" type="parTrans" cxnId="{1E715B13-3D09-488B-9A6C-99157F2258B6}">
      <dgm:prSet/>
      <dgm:spPr/>
      <dgm:t>
        <a:bodyPr/>
        <a:lstStyle/>
        <a:p>
          <a:endParaRPr lang="zh-CN" altLang="en-US" sz="2000" b="1"/>
        </a:p>
      </dgm:t>
    </dgm:pt>
    <dgm:pt modelId="{31DCF179-7ABA-4707-8FC6-077A2B39F690}" type="sibTrans" cxnId="{1E715B13-3D09-488B-9A6C-99157F2258B6}">
      <dgm:prSet/>
      <dgm:spPr/>
      <dgm:t>
        <a:bodyPr/>
        <a:lstStyle/>
        <a:p>
          <a:endParaRPr lang="zh-CN" altLang="en-US" sz="2000" b="1"/>
        </a:p>
      </dgm:t>
    </dgm:pt>
    <dgm:pt modelId="{0AF77409-6B83-4389-9239-A5AE8EBDB813}">
      <dgm:prSet custT="1"/>
      <dgm:spPr/>
      <dgm:t>
        <a:bodyPr/>
        <a:lstStyle/>
        <a:p>
          <a:r>
            <a:rPr lang="zh-CN" altLang="en-US" sz="1400" b="1" dirty="0"/>
            <a:t>相关</a:t>
          </a:r>
        </a:p>
      </dgm:t>
    </dgm:pt>
    <dgm:pt modelId="{46ACE016-CE95-4E65-86F0-4F285A3536A6}" type="parTrans" cxnId="{D52FEB06-0103-4AEF-8132-C00843A8C004}">
      <dgm:prSet/>
      <dgm:spPr/>
      <dgm:t>
        <a:bodyPr/>
        <a:lstStyle/>
        <a:p>
          <a:endParaRPr lang="zh-CN" altLang="en-US" sz="2000" b="1"/>
        </a:p>
      </dgm:t>
    </dgm:pt>
    <dgm:pt modelId="{9B661D64-BC04-474E-AC58-D4CB277A0A32}" type="sibTrans" cxnId="{D52FEB06-0103-4AEF-8132-C00843A8C004}">
      <dgm:prSet/>
      <dgm:spPr/>
      <dgm:t>
        <a:bodyPr/>
        <a:lstStyle/>
        <a:p>
          <a:endParaRPr lang="zh-CN" altLang="en-US" sz="2000" b="1"/>
        </a:p>
      </dgm:t>
    </dgm:pt>
    <dgm:pt modelId="{515C5BEE-7A54-42A5-AE81-A4B9FD8A05DB}">
      <dgm:prSet custT="1"/>
      <dgm:spPr/>
      <dgm:t>
        <a:bodyPr/>
        <a:lstStyle/>
        <a:p>
          <a:r>
            <a:rPr lang="zh-CN" altLang="en-US" sz="1400" b="1" dirty="0"/>
            <a:t>量化</a:t>
          </a:r>
        </a:p>
      </dgm:t>
    </dgm:pt>
    <dgm:pt modelId="{533C3562-B348-430A-B005-528598EDF428}" type="parTrans" cxnId="{9D6F44C0-432F-4830-AAFB-0BAC04D2D993}">
      <dgm:prSet/>
      <dgm:spPr/>
      <dgm:t>
        <a:bodyPr/>
        <a:lstStyle/>
        <a:p>
          <a:endParaRPr lang="zh-CN" altLang="en-US" sz="2000" b="1"/>
        </a:p>
      </dgm:t>
    </dgm:pt>
    <dgm:pt modelId="{536F0E76-83C2-4698-B74C-9BAEEE72A869}" type="sibTrans" cxnId="{9D6F44C0-432F-4830-AAFB-0BAC04D2D993}">
      <dgm:prSet/>
      <dgm:spPr/>
      <dgm:t>
        <a:bodyPr/>
        <a:lstStyle/>
        <a:p>
          <a:endParaRPr lang="zh-CN" altLang="en-US" sz="2000" b="1"/>
        </a:p>
      </dgm:t>
    </dgm:pt>
    <dgm:pt modelId="{A2FB2323-20B7-49F9-9774-F0A2019640B9}">
      <dgm:prSet custT="1"/>
      <dgm:spPr/>
      <dgm:t>
        <a:bodyPr/>
        <a:lstStyle/>
        <a:p>
          <a:r>
            <a:rPr lang="zh-CN" altLang="en-US" sz="1400" b="1" dirty="0"/>
            <a:t>合理</a:t>
          </a:r>
        </a:p>
      </dgm:t>
    </dgm:pt>
    <dgm:pt modelId="{39B5FB81-B2CF-4B92-9709-592049F9EB35}" type="parTrans" cxnId="{B550C078-EEFD-42BA-AB5B-659CFDE3FBF5}">
      <dgm:prSet/>
      <dgm:spPr/>
      <dgm:t>
        <a:bodyPr/>
        <a:lstStyle/>
        <a:p>
          <a:endParaRPr lang="zh-CN" altLang="en-US" sz="2000" b="1"/>
        </a:p>
      </dgm:t>
    </dgm:pt>
    <dgm:pt modelId="{87E6E1CA-DA46-42F5-AA78-7024E0EEF17F}" type="sibTrans" cxnId="{B550C078-EEFD-42BA-AB5B-659CFDE3FBF5}">
      <dgm:prSet/>
      <dgm:spPr/>
      <dgm:t>
        <a:bodyPr/>
        <a:lstStyle/>
        <a:p>
          <a:endParaRPr lang="zh-CN" altLang="en-US" sz="2000" b="1"/>
        </a:p>
      </dgm:t>
    </dgm:pt>
    <dgm:pt modelId="{DD691B46-47A6-43EF-A5FF-6EEF34733CE1}" type="pres">
      <dgm:prSet presAssocID="{53BE15EA-771A-479C-80CB-E2E3335886D5}" presName="cycle" presStyleCnt="0">
        <dgm:presLayoutVars>
          <dgm:dir/>
          <dgm:resizeHandles val="exact"/>
        </dgm:presLayoutVars>
      </dgm:prSet>
      <dgm:spPr/>
      <dgm:t>
        <a:bodyPr/>
        <a:lstStyle/>
        <a:p>
          <a:endParaRPr lang="zh-CN" altLang="en-US"/>
        </a:p>
      </dgm:t>
    </dgm:pt>
    <dgm:pt modelId="{B301B55F-3816-445A-94E5-81950BE9A86C}" type="pres">
      <dgm:prSet presAssocID="{70F0F4AB-9BA9-495D-B150-D2E3465040B3}" presName="node" presStyleLbl="node1" presStyleIdx="0" presStyleCnt="5">
        <dgm:presLayoutVars>
          <dgm:bulletEnabled val="1"/>
        </dgm:presLayoutVars>
      </dgm:prSet>
      <dgm:spPr/>
      <dgm:t>
        <a:bodyPr/>
        <a:lstStyle/>
        <a:p>
          <a:endParaRPr lang="zh-CN" altLang="en-US"/>
        </a:p>
      </dgm:t>
    </dgm:pt>
    <dgm:pt modelId="{49557765-1A27-44CF-87BD-E0D5BA0C38C6}" type="pres">
      <dgm:prSet presAssocID="{70F0F4AB-9BA9-495D-B150-D2E3465040B3}" presName="spNode" presStyleCnt="0"/>
      <dgm:spPr/>
    </dgm:pt>
    <dgm:pt modelId="{952CC240-4686-49D9-9958-A5C51450B81D}" type="pres">
      <dgm:prSet presAssocID="{09FD36C0-F25B-4F63-A4BA-52A5BD92E52A}" presName="sibTrans" presStyleLbl="sibTrans1D1" presStyleIdx="0" presStyleCnt="5"/>
      <dgm:spPr/>
      <dgm:t>
        <a:bodyPr/>
        <a:lstStyle/>
        <a:p>
          <a:endParaRPr lang="zh-CN" altLang="en-US"/>
        </a:p>
      </dgm:t>
    </dgm:pt>
    <dgm:pt modelId="{24EE2739-46DE-4DD5-AED6-B5E8DB43D0F3}" type="pres">
      <dgm:prSet presAssocID="{515C5BEE-7A54-42A5-AE81-A4B9FD8A05DB}" presName="node" presStyleLbl="node1" presStyleIdx="1" presStyleCnt="5">
        <dgm:presLayoutVars>
          <dgm:bulletEnabled val="1"/>
        </dgm:presLayoutVars>
      </dgm:prSet>
      <dgm:spPr/>
      <dgm:t>
        <a:bodyPr/>
        <a:lstStyle/>
        <a:p>
          <a:endParaRPr lang="zh-CN" altLang="en-US"/>
        </a:p>
      </dgm:t>
    </dgm:pt>
    <dgm:pt modelId="{CD7304D1-AA0E-40BB-8F28-99AE3CC532A8}" type="pres">
      <dgm:prSet presAssocID="{515C5BEE-7A54-42A5-AE81-A4B9FD8A05DB}" presName="spNode" presStyleCnt="0"/>
      <dgm:spPr/>
    </dgm:pt>
    <dgm:pt modelId="{9DFF3B41-F12E-44E8-A7B2-2912302B4C48}" type="pres">
      <dgm:prSet presAssocID="{536F0E76-83C2-4698-B74C-9BAEEE72A869}" presName="sibTrans" presStyleLbl="sibTrans1D1" presStyleIdx="1" presStyleCnt="5"/>
      <dgm:spPr/>
      <dgm:t>
        <a:bodyPr/>
        <a:lstStyle/>
        <a:p>
          <a:endParaRPr lang="zh-CN" altLang="en-US"/>
        </a:p>
      </dgm:t>
    </dgm:pt>
    <dgm:pt modelId="{1AF538F0-44D3-4C20-A897-E797BADB66F8}" type="pres">
      <dgm:prSet presAssocID="{A2FB2323-20B7-49F9-9774-F0A2019640B9}" presName="node" presStyleLbl="node1" presStyleIdx="2" presStyleCnt="5">
        <dgm:presLayoutVars>
          <dgm:bulletEnabled val="1"/>
        </dgm:presLayoutVars>
      </dgm:prSet>
      <dgm:spPr/>
      <dgm:t>
        <a:bodyPr/>
        <a:lstStyle/>
        <a:p>
          <a:endParaRPr lang="zh-CN" altLang="en-US"/>
        </a:p>
      </dgm:t>
    </dgm:pt>
    <dgm:pt modelId="{99998AA5-8941-4C91-AD7E-2D016DE4212C}" type="pres">
      <dgm:prSet presAssocID="{A2FB2323-20B7-49F9-9774-F0A2019640B9}" presName="spNode" presStyleCnt="0"/>
      <dgm:spPr/>
    </dgm:pt>
    <dgm:pt modelId="{230FEF46-EA4D-417B-B194-30974D8CA429}" type="pres">
      <dgm:prSet presAssocID="{87E6E1CA-DA46-42F5-AA78-7024E0EEF17F}" presName="sibTrans" presStyleLbl="sibTrans1D1" presStyleIdx="2" presStyleCnt="5"/>
      <dgm:spPr/>
      <dgm:t>
        <a:bodyPr/>
        <a:lstStyle/>
        <a:p>
          <a:endParaRPr lang="zh-CN" altLang="en-US"/>
        </a:p>
      </dgm:t>
    </dgm:pt>
    <dgm:pt modelId="{4B1F7137-ED6E-4C30-843A-989E2EAFAD32}" type="pres">
      <dgm:prSet presAssocID="{0AF77409-6B83-4389-9239-A5AE8EBDB813}" presName="node" presStyleLbl="node1" presStyleIdx="3" presStyleCnt="5">
        <dgm:presLayoutVars>
          <dgm:bulletEnabled val="1"/>
        </dgm:presLayoutVars>
      </dgm:prSet>
      <dgm:spPr/>
      <dgm:t>
        <a:bodyPr/>
        <a:lstStyle/>
        <a:p>
          <a:endParaRPr lang="zh-CN" altLang="en-US"/>
        </a:p>
      </dgm:t>
    </dgm:pt>
    <dgm:pt modelId="{0BC160D2-33C6-4778-AAB1-D7EB52543936}" type="pres">
      <dgm:prSet presAssocID="{0AF77409-6B83-4389-9239-A5AE8EBDB813}" presName="spNode" presStyleCnt="0"/>
      <dgm:spPr/>
    </dgm:pt>
    <dgm:pt modelId="{D4432ADF-B5AE-4F77-9153-37C366B59E79}" type="pres">
      <dgm:prSet presAssocID="{9B661D64-BC04-474E-AC58-D4CB277A0A32}" presName="sibTrans" presStyleLbl="sibTrans1D1" presStyleIdx="3" presStyleCnt="5"/>
      <dgm:spPr/>
      <dgm:t>
        <a:bodyPr/>
        <a:lstStyle/>
        <a:p>
          <a:endParaRPr lang="zh-CN" altLang="en-US"/>
        </a:p>
      </dgm:t>
    </dgm:pt>
    <dgm:pt modelId="{7BDB8137-D285-4372-A92C-9377371B3387}" type="pres">
      <dgm:prSet presAssocID="{567F9FE0-2774-4670-9DFB-D6961C6AF389}" presName="node" presStyleLbl="node1" presStyleIdx="4" presStyleCnt="5">
        <dgm:presLayoutVars>
          <dgm:bulletEnabled val="1"/>
        </dgm:presLayoutVars>
      </dgm:prSet>
      <dgm:spPr/>
      <dgm:t>
        <a:bodyPr/>
        <a:lstStyle/>
        <a:p>
          <a:endParaRPr lang="zh-CN" altLang="en-US"/>
        </a:p>
      </dgm:t>
    </dgm:pt>
    <dgm:pt modelId="{58ED1A7B-AB15-49A6-B798-4D88C9227155}" type="pres">
      <dgm:prSet presAssocID="{567F9FE0-2774-4670-9DFB-D6961C6AF389}" presName="spNode" presStyleCnt="0"/>
      <dgm:spPr/>
    </dgm:pt>
    <dgm:pt modelId="{0CBBE811-192B-4A13-8408-02FAAB128CD6}" type="pres">
      <dgm:prSet presAssocID="{31DCF179-7ABA-4707-8FC6-077A2B39F690}" presName="sibTrans" presStyleLbl="sibTrans1D1" presStyleIdx="4" presStyleCnt="5"/>
      <dgm:spPr/>
      <dgm:t>
        <a:bodyPr/>
        <a:lstStyle/>
        <a:p>
          <a:endParaRPr lang="zh-CN" altLang="en-US"/>
        </a:p>
      </dgm:t>
    </dgm:pt>
  </dgm:ptLst>
  <dgm:cxnLst>
    <dgm:cxn modelId="{04266859-53FC-425D-9E75-B9706F3A9FCD}" type="presOf" srcId="{567F9FE0-2774-4670-9DFB-D6961C6AF389}" destId="{7BDB8137-D285-4372-A92C-9377371B3387}" srcOrd="0" destOrd="0" presId="urn:microsoft.com/office/officeart/2005/8/layout/cycle6#1"/>
    <dgm:cxn modelId="{11EAB927-0E2C-435A-A5EB-DE620960FF23}" type="presOf" srcId="{536F0E76-83C2-4698-B74C-9BAEEE72A869}" destId="{9DFF3B41-F12E-44E8-A7B2-2912302B4C48}" srcOrd="0" destOrd="0" presId="urn:microsoft.com/office/officeart/2005/8/layout/cycle6#1"/>
    <dgm:cxn modelId="{3260622B-BC9A-4572-A84B-D03CE7824EC8}" type="presOf" srcId="{9B661D64-BC04-474E-AC58-D4CB277A0A32}" destId="{D4432ADF-B5AE-4F77-9153-37C366B59E79}" srcOrd="0" destOrd="0" presId="urn:microsoft.com/office/officeart/2005/8/layout/cycle6#1"/>
    <dgm:cxn modelId="{8AE8C542-0D28-4110-ACBB-F10B296EB4D1}" type="presOf" srcId="{A2FB2323-20B7-49F9-9774-F0A2019640B9}" destId="{1AF538F0-44D3-4C20-A897-E797BADB66F8}" srcOrd="0" destOrd="0" presId="urn:microsoft.com/office/officeart/2005/8/layout/cycle6#1"/>
    <dgm:cxn modelId="{A0D8525F-725B-426F-A531-22CEAD9C32AF}" type="presOf" srcId="{31DCF179-7ABA-4707-8FC6-077A2B39F690}" destId="{0CBBE811-192B-4A13-8408-02FAAB128CD6}" srcOrd="0" destOrd="0" presId="urn:microsoft.com/office/officeart/2005/8/layout/cycle6#1"/>
    <dgm:cxn modelId="{9D6F44C0-432F-4830-AAFB-0BAC04D2D993}" srcId="{53BE15EA-771A-479C-80CB-E2E3335886D5}" destId="{515C5BEE-7A54-42A5-AE81-A4B9FD8A05DB}" srcOrd="1" destOrd="0" parTransId="{533C3562-B348-430A-B005-528598EDF428}" sibTransId="{536F0E76-83C2-4698-B74C-9BAEEE72A869}"/>
    <dgm:cxn modelId="{44577268-969C-4BA7-BEFB-53E5A3064A0B}" type="presOf" srcId="{0AF77409-6B83-4389-9239-A5AE8EBDB813}" destId="{4B1F7137-ED6E-4C30-843A-989E2EAFAD32}" srcOrd="0" destOrd="0" presId="urn:microsoft.com/office/officeart/2005/8/layout/cycle6#1"/>
    <dgm:cxn modelId="{4B5A14C5-FFFE-4C6D-8020-995CD614CED9}" type="presOf" srcId="{515C5BEE-7A54-42A5-AE81-A4B9FD8A05DB}" destId="{24EE2739-46DE-4DD5-AED6-B5E8DB43D0F3}" srcOrd="0" destOrd="0" presId="urn:microsoft.com/office/officeart/2005/8/layout/cycle6#1"/>
    <dgm:cxn modelId="{D52FEB06-0103-4AEF-8132-C00843A8C004}" srcId="{53BE15EA-771A-479C-80CB-E2E3335886D5}" destId="{0AF77409-6B83-4389-9239-A5AE8EBDB813}" srcOrd="3" destOrd="0" parTransId="{46ACE016-CE95-4E65-86F0-4F285A3536A6}" sibTransId="{9B661D64-BC04-474E-AC58-D4CB277A0A32}"/>
    <dgm:cxn modelId="{B550C078-EEFD-42BA-AB5B-659CFDE3FBF5}" srcId="{53BE15EA-771A-479C-80CB-E2E3335886D5}" destId="{A2FB2323-20B7-49F9-9774-F0A2019640B9}" srcOrd="2" destOrd="0" parTransId="{39B5FB81-B2CF-4B92-9709-592049F9EB35}" sibTransId="{87E6E1CA-DA46-42F5-AA78-7024E0EEF17F}"/>
    <dgm:cxn modelId="{1A909BE3-F560-4DB8-918D-881FF4007A3E}" type="presOf" srcId="{87E6E1CA-DA46-42F5-AA78-7024E0EEF17F}" destId="{230FEF46-EA4D-417B-B194-30974D8CA429}" srcOrd="0" destOrd="0" presId="urn:microsoft.com/office/officeart/2005/8/layout/cycle6#1"/>
    <dgm:cxn modelId="{9688BE42-EC1C-4309-8FAE-8CC5037C56DC}" type="presOf" srcId="{09FD36C0-F25B-4F63-A4BA-52A5BD92E52A}" destId="{952CC240-4686-49D9-9958-A5C51450B81D}" srcOrd="0" destOrd="0" presId="urn:microsoft.com/office/officeart/2005/8/layout/cycle6#1"/>
    <dgm:cxn modelId="{24A0AA41-D718-44E4-ABB8-35D701031C99}" srcId="{53BE15EA-771A-479C-80CB-E2E3335886D5}" destId="{70F0F4AB-9BA9-495D-B150-D2E3465040B3}" srcOrd="0" destOrd="0" parTransId="{F779679F-6882-427B-9AE7-005E0911C455}" sibTransId="{09FD36C0-F25B-4F63-A4BA-52A5BD92E52A}"/>
    <dgm:cxn modelId="{3A08DD60-E89A-4298-BB22-48CC72216FF8}" type="presOf" srcId="{70F0F4AB-9BA9-495D-B150-D2E3465040B3}" destId="{B301B55F-3816-445A-94E5-81950BE9A86C}" srcOrd="0" destOrd="0" presId="urn:microsoft.com/office/officeart/2005/8/layout/cycle6#1"/>
    <dgm:cxn modelId="{44CC3266-9F21-4812-8E73-78B02CE71AD4}" type="presOf" srcId="{53BE15EA-771A-479C-80CB-E2E3335886D5}" destId="{DD691B46-47A6-43EF-A5FF-6EEF34733CE1}" srcOrd="0" destOrd="0" presId="urn:microsoft.com/office/officeart/2005/8/layout/cycle6#1"/>
    <dgm:cxn modelId="{1E715B13-3D09-488B-9A6C-99157F2258B6}" srcId="{53BE15EA-771A-479C-80CB-E2E3335886D5}" destId="{567F9FE0-2774-4670-9DFB-D6961C6AF389}" srcOrd="4" destOrd="0" parTransId="{90282451-12CB-4269-B9D7-75483A7B5B89}" sibTransId="{31DCF179-7ABA-4707-8FC6-077A2B39F690}"/>
    <dgm:cxn modelId="{41068E88-BEE5-49C6-8D25-3416CBF5D558}" type="presParOf" srcId="{DD691B46-47A6-43EF-A5FF-6EEF34733CE1}" destId="{B301B55F-3816-445A-94E5-81950BE9A86C}" srcOrd="0" destOrd="0" presId="urn:microsoft.com/office/officeart/2005/8/layout/cycle6#1"/>
    <dgm:cxn modelId="{7909BEC1-4FDE-43E7-8005-541954036338}" type="presParOf" srcId="{DD691B46-47A6-43EF-A5FF-6EEF34733CE1}" destId="{49557765-1A27-44CF-87BD-E0D5BA0C38C6}" srcOrd="1" destOrd="0" presId="urn:microsoft.com/office/officeart/2005/8/layout/cycle6#1"/>
    <dgm:cxn modelId="{FAA5CB11-4EE5-429E-B439-C5E5BA4AD8EC}" type="presParOf" srcId="{DD691B46-47A6-43EF-A5FF-6EEF34733CE1}" destId="{952CC240-4686-49D9-9958-A5C51450B81D}" srcOrd="2" destOrd="0" presId="urn:microsoft.com/office/officeart/2005/8/layout/cycle6#1"/>
    <dgm:cxn modelId="{50AE356D-713D-4B9D-AA7E-B37E1F7D46FD}" type="presParOf" srcId="{DD691B46-47A6-43EF-A5FF-6EEF34733CE1}" destId="{24EE2739-46DE-4DD5-AED6-B5E8DB43D0F3}" srcOrd="3" destOrd="0" presId="urn:microsoft.com/office/officeart/2005/8/layout/cycle6#1"/>
    <dgm:cxn modelId="{F0D74AC0-3A82-4833-8397-33B655CCCA49}" type="presParOf" srcId="{DD691B46-47A6-43EF-A5FF-6EEF34733CE1}" destId="{CD7304D1-AA0E-40BB-8F28-99AE3CC532A8}" srcOrd="4" destOrd="0" presId="urn:microsoft.com/office/officeart/2005/8/layout/cycle6#1"/>
    <dgm:cxn modelId="{F3B13A67-99EF-48F5-B337-73BED37F2096}" type="presParOf" srcId="{DD691B46-47A6-43EF-A5FF-6EEF34733CE1}" destId="{9DFF3B41-F12E-44E8-A7B2-2912302B4C48}" srcOrd="5" destOrd="0" presId="urn:microsoft.com/office/officeart/2005/8/layout/cycle6#1"/>
    <dgm:cxn modelId="{E7D06757-D5CD-4C8F-8A25-FFE3104B88DD}" type="presParOf" srcId="{DD691B46-47A6-43EF-A5FF-6EEF34733CE1}" destId="{1AF538F0-44D3-4C20-A897-E797BADB66F8}" srcOrd="6" destOrd="0" presId="urn:microsoft.com/office/officeart/2005/8/layout/cycle6#1"/>
    <dgm:cxn modelId="{7F10BDDA-8D45-4F64-AD79-60A708EB08AA}" type="presParOf" srcId="{DD691B46-47A6-43EF-A5FF-6EEF34733CE1}" destId="{99998AA5-8941-4C91-AD7E-2D016DE4212C}" srcOrd="7" destOrd="0" presId="urn:microsoft.com/office/officeart/2005/8/layout/cycle6#1"/>
    <dgm:cxn modelId="{E5B7C887-6160-4D26-A7D6-05CEED2B06CC}" type="presParOf" srcId="{DD691B46-47A6-43EF-A5FF-6EEF34733CE1}" destId="{230FEF46-EA4D-417B-B194-30974D8CA429}" srcOrd="8" destOrd="0" presId="urn:microsoft.com/office/officeart/2005/8/layout/cycle6#1"/>
    <dgm:cxn modelId="{EF6744CA-F5E4-4F4E-ADC4-5DBDCFA561BA}" type="presParOf" srcId="{DD691B46-47A6-43EF-A5FF-6EEF34733CE1}" destId="{4B1F7137-ED6E-4C30-843A-989E2EAFAD32}" srcOrd="9" destOrd="0" presId="urn:microsoft.com/office/officeart/2005/8/layout/cycle6#1"/>
    <dgm:cxn modelId="{D5E5D905-F79F-4555-BC71-81F02B9DD1BC}" type="presParOf" srcId="{DD691B46-47A6-43EF-A5FF-6EEF34733CE1}" destId="{0BC160D2-33C6-4778-AAB1-D7EB52543936}" srcOrd="10" destOrd="0" presId="urn:microsoft.com/office/officeart/2005/8/layout/cycle6#1"/>
    <dgm:cxn modelId="{A8A7F9DE-1982-40BE-AF85-6D67EF74DAD2}" type="presParOf" srcId="{DD691B46-47A6-43EF-A5FF-6EEF34733CE1}" destId="{D4432ADF-B5AE-4F77-9153-37C366B59E79}" srcOrd="11" destOrd="0" presId="urn:microsoft.com/office/officeart/2005/8/layout/cycle6#1"/>
    <dgm:cxn modelId="{E02D6194-61E1-44A4-99DD-7DD91F061766}" type="presParOf" srcId="{DD691B46-47A6-43EF-A5FF-6EEF34733CE1}" destId="{7BDB8137-D285-4372-A92C-9377371B3387}" srcOrd="12" destOrd="0" presId="urn:microsoft.com/office/officeart/2005/8/layout/cycle6#1"/>
    <dgm:cxn modelId="{64BA96C0-0198-4A0A-BD65-8E3AA384B812}" type="presParOf" srcId="{DD691B46-47A6-43EF-A5FF-6EEF34733CE1}" destId="{58ED1A7B-AB15-49A6-B798-4D88C9227155}" srcOrd="13" destOrd="0" presId="urn:microsoft.com/office/officeart/2005/8/layout/cycle6#1"/>
    <dgm:cxn modelId="{1D4F97EB-B559-45C3-91AC-68573D04F358}" type="presParOf" srcId="{DD691B46-47A6-43EF-A5FF-6EEF34733CE1}" destId="{0CBBE811-192B-4A13-8408-02FAAB128CD6}" srcOrd="14" destOrd="0" presId="urn:microsoft.com/office/officeart/2005/8/layout/cycle6#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01B55F-3816-445A-94E5-81950BE9A86C}">
      <dsp:nvSpPr>
        <dsp:cNvPr id="0" name=""/>
        <dsp:cNvSpPr/>
      </dsp:nvSpPr>
      <dsp:spPr>
        <a:xfrm>
          <a:off x="1174151" y="1400"/>
          <a:ext cx="743516" cy="483285"/>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b="1" kern="1200" dirty="0"/>
            <a:t>具体</a:t>
          </a:r>
        </a:p>
      </dsp:txBody>
      <dsp:txXfrm>
        <a:off x="1197743" y="24992"/>
        <a:ext cx="696332" cy="436101"/>
      </dsp:txXfrm>
    </dsp:sp>
    <dsp:sp modelId="{952CC240-4686-49D9-9958-A5C51450B81D}">
      <dsp:nvSpPr>
        <dsp:cNvPr id="0" name=""/>
        <dsp:cNvSpPr/>
      </dsp:nvSpPr>
      <dsp:spPr>
        <a:xfrm>
          <a:off x="581154" y="243043"/>
          <a:ext cx="1929510" cy="1929510"/>
        </a:xfrm>
        <a:custGeom>
          <a:avLst/>
          <a:gdLst/>
          <a:ahLst/>
          <a:cxnLst/>
          <a:rect l="0" t="0" r="0" b="0"/>
          <a:pathLst>
            <a:path>
              <a:moveTo>
                <a:pt x="1341610" y="76649"/>
              </a:moveTo>
              <a:arcTo wR="964755" hR="964755" stAng="17579597" swAng="1959472"/>
            </a:path>
          </a:pathLst>
        </a:custGeom>
        <a:noFill/>
        <a:ln w="6350" cap="flat" cmpd="sng" algn="ctr">
          <a:solidFill>
            <a:schemeClr val="accent4">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24EE2739-46DE-4DD5-AED6-B5E8DB43D0F3}">
      <dsp:nvSpPr>
        <dsp:cNvPr id="0" name=""/>
        <dsp:cNvSpPr/>
      </dsp:nvSpPr>
      <dsp:spPr>
        <a:xfrm>
          <a:off x="2091688" y="668030"/>
          <a:ext cx="743516" cy="483285"/>
        </a:xfrm>
        <a:prstGeom prst="roundRect">
          <a:avLst/>
        </a:prstGeom>
        <a:solidFill>
          <a:schemeClr val="accent4">
            <a:hueOff val="2598923"/>
            <a:satOff val="-11992"/>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b="1" kern="1200" dirty="0"/>
            <a:t>量化</a:t>
          </a:r>
        </a:p>
      </dsp:txBody>
      <dsp:txXfrm>
        <a:off x="2115280" y="691622"/>
        <a:ext cx="696332" cy="436101"/>
      </dsp:txXfrm>
    </dsp:sp>
    <dsp:sp modelId="{9DFF3B41-F12E-44E8-A7B2-2912302B4C48}">
      <dsp:nvSpPr>
        <dsp:cNvPr id="0" name=""/>
        <dsp:cNvSpPr/>
      </dsp:nvSpPr>
      <dsp:spPr>
        <a:xfrm>
          <a:off x="581154" y="243043"/>
          <a:ext cx="1929510" cy="1929510"/>
        </a:xfrm>
        <a:custGeom>
          <a:avLst/>
          <a:gdLst/>
          <a:ahLst/>
          <a:cxnLst/>
          <a:rect l="0" t="0" r="0" b="0"/>
          <a:pathLst>
            <a:path>
              <a:moveTo>
                <a:pt x="1928197" y="914434"/>
              </a:moveTo>
              <a:arcTo wR="964755" hR="964755" stAng="21420611" swAng="2194716"/>
            </a:path>
          </a:pathLst>
        </a:custGeom>
        <a:noFill/>
        <a:ln w="6350" cap="flat" cmpd="sng" algn="ctr">
          <a:solidFill>
            <a:schemeClr val="accent4">
              <a:hueOff val="2598923"/>
              <a:satOff val="-11992"/>
              <a:lumOff val="441"/>
              <a:alphaOff val="0"/>
            </a:schemeClr>
          </a:solidFill>
          <a:prstDash val="solid"/>
          <a:miter lim="800000"/>
        </a:ln>
        <a:effectLst/>
      </dsp:spPr>
      <dsp:style>
        <a:lnRef idx="1">
          <a:scrgbClr r="0" g="0" b="0"/>
        </a:lnRef>
        <a:fillRef idx="0">
          <a:scrgbClr r="0" g="0" b="0"/>
        </a:fillRef>
        <a:effectRef idx="0">
          <a:scrgbClr r="0" g="0" b="0"/>
        </a:effectRef>
        <a:fontRef idx="minor"/>
      </dsp:style>
    </dsp:sp>
    <dsp:sp modelId="{1AF538F0-44D3-4C20-A897-E797BADB66F8}">
      <dsp:nvSpPr>
        <dsp:cNvPr id="0" name=""/>
        <dsp:cNvSpPr/>
      </dsp:nvSpPr>
      <dsp:spPr>
        <a:xfrm>
          <a:off x="1741220" y="1746659"/>
          <a:ext cx="743516" cy="483285"/>
        </a:xfrm>
        <a:prstGeom prst="roundRect">
          <a:avLst/>
        </a:prstGeom>
        <a:solidFill>
          <a:schemeClr val="accent4">
            <a:hueOff val="5197847"/>
            <a:satOff val="-23984"/>
            <a:lumOff val="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b="1" kern="1200" dirty="0"/>
            <a:t>合理</a:t>
          </a:r>
        </a:p>
      </dsp:txBody>
      <dsp:txXfrm>
        <a:off x="1764812" y="1770251"/>
        <a:ext cx="696332" cy="436101"/>
      </dsp:txXfrm>
    </dsp:sp>
    <dsp:sp modelId="{230FEF46-EA4D-417B-B194-30974D8CA429}">
      <dsp:nvSpPr>
        <dsp:cNvPr id="0" name=""/>
        <dsp:cNvSpPr/>
      </dsp:nvSpPr>
      <dsp:spPr>
        <a:xfrm>
          <a:off x="581154" y="243043"/>
          <a:ext cx="1929510" cy="1929510"/>
        </a:xfrm>
        <a:custGeom>
          <a:avLst/>
          <a:gdLst/>
          <a:ahLst/>
          <a:cxnLst/>
          <a:rect l="0" t="0" r="0" b="0"/>
          <a:pathLst>
            <a:path>
              <a:moveTo>
                <a:pt x="1156238" y="1910316"/>
              </a:moveTo>
              <a:arcTo wR="964755" hR="964755" stAng="4713118" swAng="1373765"/>
            </a:path>
          </a:pathLst>
        </a:custGeom>
        <a:noFill/>
        <a:ln w="6350" cap="flat" cmpd="sng" algn="ctr">
          <a:solidFill>
            <a:schemeClr val="accent4">
              <a:hueOff val="5197847"/>
              <a:satOff val="-23984"/>
              <a:lumOff val="883"/>
              <a:alphaOff val="0"/>
            </a:schemeClr>
          </a:solidFill>
          <a:prstDash val="solid"/>
          <a:miter lim="800000"/>
        </a:ln>
        <a:effectLst/>
      </dsp:spPr>
      <dsp:style>
        <a:lnRef idx="1">
          <a:scrgbClr r="0" g="0" b="0"/>
        </a:lnRef>
        <a:fillRef idx="0">
          <a:scrgbClr r="0" g="0" b="0"/>
        </a:fillRef>
        <a:effectRef idx="0">
          <a:scrgbClr r="0" g="0" b="0"/>
        </a:effectRef>
        <a:fontRef idx="minor"/>
      </dsp:style>
    </dsp:sp>
    <dsp:sp modelId="{4B1F7137-ED6E-4C30-843A-989E2EAFAD32}">
      <dsp:nvSpPr>
        <dsp:cNvPr id="0" name=""/>
        <dsp:cNvSpPr/>
      </dsp:nvSpPr>
      <dsp:spPr>
        <a:xfrm>
          <a:off x="607082" y="1746659"/>
          <a:ext cx="743516" cy="483285"/>
        </a:xfrm>
        <a:prstGeom prst="roundRect">
          <a:avLst/>
        </a:prstGeom>
        <a:solidFill>
          <a:schemeClr val="accent4">
            <a:hueOff val="7796770"/>
            <a:satOff val="-35976"/>
            <a:lumOff val="132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b="1" kern="1200" dirty="0"/>
            <a:t>相关</a:t>
          </a:r>
        </a:p>
      </dsp:txBody>
      <dsp:txXfrm>
        <a:off x="630674" y="1770251"/>
        <a:ext cx="696332" cy="436101"/>
      </dsp:txXfrm>
    </dsp:sp>
    <dsp:sp modelId="{D4432ADF-B5AE-4F77-9153-37C366B59E79}">
      <dsp:nvSpPr>
        <dsp:cNvPr id="0" name=""/>
        <dsp:cNvSpPr/>
      </dsp:nvSpPr>
      <dsp:spPr>
        <a:xfrm>
          <a:off x="581154" y="243043"/>
          <a:ext cx="1929510" cy="1929510"/>
        </a:xfrm>
        <a:custGeom>
          <a:avLst/>
          <a:gdLst/>
          <a:ahLst/>
          <a:cxnLst/>
          <a:rect l="0" t="0" r="0" b="0"/>
          <a:pathLst>
            <a:path>
              <a:moveTo>
                <a:pt x="161085" y="1498485"/>
              </a:moveTo>
              <a:arcTo wR="964755" hR="964755" stAng="8784674" swAng="2194716"/>
            </a:path>
          </a:pathLst>
        </a:custGeom>
        <a:noFill/>
        <a:ln w="6350" cap="flat" cmpd="sng" algn="ctr">
          <a:solidFill>
            <a:schemeClr val="accent4">
              <a:hueOff val="7796770"/>
              <a:satOff val="-35976"/>
              <a:lumOff val="1324"/>
              <a:alphaOff val="0"/>
            </a:schemeClr>
          </a:solidFill>
          <a:prstDash val="solid"/>
          <a:miter lim="800000"/>
        </a:ln>
        <a:effectLst/>
      </dsp:spPr>
      <dsp:style>
        <a:lnRef idx="1">
          <a:scrgbClr r="0" g="0" b="0"/>
        </a:lnRef>
        <a:fillRef idx="0">
          <a:scrgbClr r="0" g="0" b="0"/>
        </a:fillRef>
        <a:effectRef idx="0">
          <a:scrgbClr r="0" g="0" b="0"/>
        </a:effectRef>
        <a:fontRef idx="minor"/>
      </dsp:style>
    </dsp:sp>
    <dsp:sp modelId="{7BDB8137-D285-4372-A92C-9377371B3387}">
      <dsp:nvSpPr>
        <dsp:cNvPr id="0" name=""/>
        <dsp:cNvSpPr/>
      </dsp:nvSpPr>
      <dsp:spPr>
        <a:xfrm>
          <a:off x="256615" y="668030"/>
          <a:ext cx="743516" cy="483285"/>
        </a:xfrm>
        <a:prstGeom prst="roundRect">
          <a:avLst/>
        </a:prstGeom>
        <a:solidFill>
          <a:schemeClr val="accent4">
            <a:hueOff val="10395693"/>
            <a:satOff val="-47968"/>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b="1" kern="1200" dirty="0"/>
            <a:t>时限</a:t>
          </a:r>
        </a:p>
      </dsp:txBody>
      <dsp:txXfrm>
        <a:off x="280207" y="691622"/>
        <a:ext cx="696332" cy="436101"/>
      </dsp:txXfrm>
    </dsp:sp>
    <dsp:sp modelId="{0CBBE811-192B-4A13-8408-02FAAB128CD6}">
      <dsp:nvSpPr>
        <dsp:cNvPr id="0" name=""/>
        <dsp:cNvSpPr/>
      </dsp:nvSpPr>
      <dsp:spPr>
        <a:xfrm>
          <a:off x="581154" y="243043"/>
          <a:ext cx="1929510" cy="1929510"/>
        </a:xfrm>
        <a:custGeom>
          <a:avLst/>
          <a:gdLst/>
          <a:ahLst/>
          <a:cxnLst/>
          <a:rect l="0" t="0" r="0" b="0"/>
          <a:pathLst>
            <a:path>
              <a:moveTo>
                <a:pt x="168236" y="420411"/>
              </a:moveTo>
              <a:arcTo wR="964755" hR="964755" stAng="12860931" swAng="1959472"/>
            </a:path>
          </a:pathLst>
        </a:custGeom>
        <a:noFill/>
        <a:ln w="6350" cap="flat" cmpd="sng" algn="ctr">
          <a:solidFill>
            <a:schemeClr val="accent4">
              <a:hueOff val="10395693"/>
              <a:satOff val="-47968"/>
              <a:lumOff val="1765"/>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6#1">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endSty" val="noArr"/>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buFontTx/>
              <a:buNone/>
              <a:defRPr sz="1200">
                <a:latin typeface="+mn-lt"/>
                <a:ea typeface="+mn-ea"/>
              </a:defRPr>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buFontTx/>
              <a:buNone/>
              <a:defRPr sz="1200">
                <a:latin typeface="+mn-lt"/>
                <a:ea typeface="+mn-ea"/>
              </a:defRPr>
            </a:lvl1pPr>
          </a:lstStyle>
          <a:p>
            <a:pPr>
              <a:defRPr/>
            </a:pPr>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buFontTx/>
              <a:buNone/>
              <a:defRPr sz="1200">
                <a:latin typeface="+mn-lt"/>
                <a:ea typeface="+mn-ea"/>
              </a:defRPr>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ea typeface="宋体" pitchFamily="2" charset="-122"/>
              </a:defRPr>
            </a:lvl1pPr>
          </a:lstStyle>
          <a:p>
            <a:fld id="{192D5AB7-9A79-4D16-A0DA-80BDBB935F9F}" type="slidenum">
              <a:rPr lang="zh-CN" altLang="en-US"/>
              <a:pPr/>
              <a:t>‹#›</a:t>
            </a:fld>
            <a:endParaRPr lang="zh-CN" altLang="en-US"/>
          </a:p>
        </p:txBody>
      </p:sp>
    </p:spTree>
    <p:extLst>
      <p:ext uri="{BB962C8B-B14F-4D97-AF65-F5344CB8AC3E}">
        <p14:creationId xmlns:p14="http://schemas.microsoft.com/office/powerpoint/2010/main" val="905291867"/>
      </p:ext>
    </p:extLst>
  </p:cSld>
  <p:clrMap bg1="lt1" tx1="dk1" bg2="lt2" tx2="dk2" accent1="accent1" accent2="accent2" accent3="accent3" accent4="accent4" accent5="accent5" accent6="accent6" hlink="hlink" folHlink="folHlink"/>
  <p:notesStyle>
    <a:lvl1pPr algn="l" rtl="0" eaLnBrk="0" fontAlgn="base" hangingPunct="0">
      <a:spcBef>
        <a:spcPct val="0"/>
      </a:spcBef>
      <a:spcAft>
        <a:spcPct val="0"/>
      </a:spcAft>
      <a:defRPr sz="1200" kern="1200">
        <a:solidFill>
          <a:schemeClr val="tx1"/>
        </a:solidFill>
        <a:latin typeface="+mn-lt"/>
        <a:ea typeface="+mn-ea"/>
        <a:cs typeface="+mn-cs"/>
      </a:defRPr>
    </a:lvl1pPr>
    <a:lvl2pPr marL="457200" algn="l" rtl="0" eaLnBrk="0" fontAlgn="base" hangingPunct="0">
      <a:spcBef>
        <a:spcPct val="0"/>
      </a:spcBef>
      <a:spcAft>
        <a:spcPct val="0"/>
      </a:spcAft>
      <a:defRPr sz="1200" kern="1200">
        <a:solidFill>
          <a:schemeClr val="tx1"/>
        </a:solidFill>
        <a:latin typeface="+mn-lt"/>
        <a:ea typeface="+mn-ea"/>
        <a:cs typeface="+mn-cs"/>
      </a:defRPr>
    </a:lvl2pPr>
    <a:lvl3pPr marL="914400" algn="l" rtl="0" eaLnBrk="0" fontAlgn="base" hangingPunct="0">
      <a:spcBef>
        <a:spcPct val="0"/>
      </a:spcBef>
      <a:spcAft>
        <a:spcPct val="0"/>
      </a:spcAft>
      <a:defRPr sz="1200" kern="1200">
        <a:solidFill>
          <a:schemeClr val="tx1"/>
        </a:solidFill>
        <a:latin typeface="+mn-lt"/>
        <a:ea typeface="+mn-ea"/>
        <a:cs typeface="+mn-cs"/>
      </a:defRPr>
    </a:lvl3pPr>
    <a:lvl4pPr marL="1371600" algn="l" rtl="0" eaLnBrk="0" fontAlgn="base" hangingPunct="0">
      <a:spcBef>
        <a:spcPct val="0"/>
      </a:spcBef>
      <a:spcAft>
        <a:spcPct val="0"/>
      </a:spcAft>
      <a:defRPr sz="1200" kern="1200">
        <a:solidFill>
          <a:schemeClr val="tx1"/>
        </a:solidFill>
        <a:latin typeface="+mn-lt"/>
        <a:ea typeface="+mn-ea"/>
        <a:cs typeface="+mn-cs"/>
      </a:defRPr>
    </a:lvl4pPr>
    <a:lvl5pPr marL="1828800" algn="l" rtl="0" eaLnBrk="0" fontAlgn="base" hangingPunct="0">
      <a:spcBef>
        <a:spcPct val="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noChangeArrowheads="1"/>
          </p:cNvSpPr>
          <p:nvPr>
            <p:ph type="sldImg" idx="4294967295"/>
          </p:nvPr>
        </p:nvSpPr>
        <p:spPr bwMode="auto">
          <a:ln>
            <a:solidFill>
              <a:srgbClr val="000000"/>
            </a:solidFill>
            <a:miter lim="800000"/>
            <a:headEnd/>
            <a:tailEnd/>
          </a:ln>
        </p:spPr>
      </p:sp>
      <p:sp>
        <p:nvSpPr>
          <p:cNvPr id="19458" name="文本占位符 2"/>
          <p:cNvSpPr>
            <a:spLocks noGrp="1" noChangeArrowheads="1"/>
          </p:cNvSpPr>
          <p:nvPr>
            <p:ph type="body" idx="429496729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幻灯片图像占位符 1"/>
          <p:cNvSpPr>
            <a:spLocks noGrp="1" noRot="1" noChangeAspect="1" noChangeArrowheads="1"/>
          </p:cNvSpPr>
          <p:nvPr>
            <p:ph type="sldImg" idx="4294967295"/>
          </p:nvPr>
        </p:nvSpPr>
        <p:spPr bwMode="auto">
          <a:ln>
            <a:solidFill>
              <a:srgbClr val="000000"/>
            </a:solidFill>
            <a:miter lim="800000"/>
            <a:headEnd/>
            <a:tailEnd/>
          </a:ln>
        </p:spPr>
      </p:sp>
      <p:sp>
        <p:nvSpPr>
          <p:cNvPr id="39938" name="文本占位符 2"/>
          <p:cNvSpPr>
            <a:spLocks noGrp="1" noChangeArrowheads="1"/>
          </p:cNvSpPr>
          <p:nvPr>
            <p:ph type="body" idx="429496729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幻灯片图像占位符 1"/>
          <p:cNvSpPr>
            <a:spLocks noGrp="1" noRot="1" noChangeAspect="1" noChangeArrowheads="1" noTextEdit="1"/>
          </p:cNvSpPr>
          <p:nvPr>
            <p:ph type="sldImg" idx="4294967295"/>
          </p:nvPr>
        </p:nvSpPr>
        <p:spPr bwMode="auto">
          <a:ln>
            <a:solidFill>
              <a:srgbClr val="000000"/>
            </a:solidFill>
            <a:miter lim="800000"/>
            <a:headEnd/>
            <a:tailEnd/>
          </a:ln>
        </p:spPr>
      </p:sp>
      <p:sp>
        <p:nvSpPr>
          <p:cNvPr id="41986" name="备注占位符 2"/>
          <p:cNvSpPr>
            <a:spLocks noGrp="1" noChangeArrowheads="1"/>
          </p:cNvSpPr>
          <p:nvPr>
            <p:ph type="body" idx="429496729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zh-CN" altLang="en-US" smtClean="0"/>
              <a:t>当 聚焦到 人 这个核心问题上，很多问题都能迎刃而解！ </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幻灯片图像占位符 1"/>
          <p:cNvSpPr>
            <a:spLocks noGrp="1" noRot="1" noChangeAspect="1" noChangeArrowheads="1" noTextEdit="1"/>
          </p:cNvSpPr>
          <p:nvPr>
            <p:ph type="sldImg" idx="4294967295"/>
          </p:nvPr>
        </p:nvSpPr>
        <p:spPr bwMode="auto">
          <a:ln>
            <a:solidFill>
              <a:srgbClr val="000000"/>
            </a:solidFill>
            <a:miter lim="800000"/>
            <a:headEnd/>
            <a:tailEnd/>
          </a:ln>
        </p:spPr>
      </p:sp>
      <p:sp>
        <p:nvSpPr>
          <p:cNvPr id="44034" name="备注占位符 2"/>
          <p:cNvSpPr>
            <a:spLocks noGrp="1" noChangeArrowheads="1"/>
          </p:cNvSpPr>
          <p:nvPr>
            <p:ph type="body" idx="429496729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zh-CN" smtClean="0"/>
              <a:t>IT</a:t>
            </a:r>
            <a:r>
              <a:rPr lang="zh-CN" altLang="en-US" smtClean="0"/>
              <a:t>项目管理既是一门科学，又是一门艺术。</a:t>
            </a:r>
          </a:p>
          <a:p>
            <a:pPr eaLnBrk="1" hangingPunct="1"/>
            <a:r>
              <a:rPr lang="zh-CN" altLang="en-US" smtClean="0"/>
              <a:t>科学是对客观世界的本质与规律的反映。因为项目管理是一门科学，所以遵循和不遵循科学的管理规律会产生两种截然不同的结果；</a:t>
            </a:r>
          </a:p>
          <a:p>
            <a:pPr eaLnBrk="1" hangingPunct="1"/>
            <a:r>
              <a:rPr lang="zh-CN" altLang="en-US" smtClean="0"/>
              <a:t>艺术是对客观世界的形象性反映。因为项目管理是一门艺术，所以在管理过程中需要充分发挥项目管理者和执行者的创造性，在这一过程中项目团队的能力至关重要。</a:t>
            </a:r>
          </a:p>
          <a:p>
            <a:pPr eaLnBrk="1" hangingPunct="1"/>
            <a:r>
              <a:rPr lang="zh-CN" altLang="en-US" smtClean="0"/>
              <a:t>学思想、建框架、懂应用、拆围墙；教育培训重在思维逻辑、轻在技能方法、促在思想转变、用在生活日常、方的始终。</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幻灯片图像占位符 1"/>
          <p:cNvSpPr>
            <a:spLocks noGrp="1" noRot="1" noChangeAspect="1" noChangeArrowheads="1"/>
          </p:cNvSpPr>
          <p:nvPr>
            <p:ph type="sldImg" idx="4294967295"/>
          </p:nvPr>
        </p:nvSpPr>
        <p:spPr bwMode="auto">
          <a:ln>
            <a:solidFill>
              <a:srgbClr val="000000"/>
            </a:solidFill>
            <a:miter lim="800000"/>
            <a:headEnd/>
            <a:tailEnd/>
          </a:ln>
        </p:spPr>
      </p:sp>
      <p:sp>
        <p:nvSpPr>
          <p:cNvPr id="46082" name="文本占位符 2"/>
          <p:cNvSpPr>
            <a:spLocks noGrp="1" noChangeArrowheads="1"/>
          </p:cNvSpPr>
          <p:nvPr>
            <p:ph type="body" idx="429496729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smtClean="0"/>
              <a:t>层次性</a:t>
            </a:r>
          </a:p>
          <a:p>
            <a:r>
              <a:rPr lang="zh-CN" altLang="en-US" smtClean="0"/>
              <a:t>相关性</a:t>
            </a:r>
          </a:p>
          <a:p>
            <a:r>
              <a:rPr lang="zh-CN" altLang="en-US" smtClean="0"/>
              <a:t>优先级，协同效应，整体最优</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幻灯片图像占位符 1"/>
          <p:cNvSpPr>
            <a:spLocks noGrp="1" noRot="1" noChangeAspect="1" noChangeArrowheads="1"/>
          </p:cNvSpPr>
          <p:nvPr>
            <p:ph type="sldImg" idx="4294967295"/>
          </p:nvPr>
        </p:nvSpPr>
        <p:spPr bwMode="auto">
          <a:ln>
            <a:solidFill>
              <a:srgbClr val="000000"/>
            </a:solidFill>
            <a:miter lim="800000"/>
            <a:headEnd/>
            <a:tailEnd/>
          </a:ln>
        </p:spPr>
      </p:sp>
      <p:sp>
        <p:nvSpPr>
          <p:cNvPr id="48130" name="文本占位符 2"/>
          <p:cNvSpPr>
            <a:spLocks noGrp="1" noChangeArrowheads="1"/>
          </p:cNvSpPr>
          <p:nvPr>
            <p:ph type="body" idx="429496729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smtClean="0"/>
              <a:t>在每个交叉点，可交付成果及知识在项目与运营之间转移，以完成工作交接。在这一过程中，将转移项目资源或知识到运营中，或转移运营资源到项目中。</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幻灯片图像占位符 1"/>
          <p:cNvSpPr>
            <a:spLocks noGrp="1" noRot="1" noChangeAspect="1" noChangeArrowheads="1"/>
          </p:cNvSpPr>
          <p:nvPr>
            <p:ph type="sldImg" idx="4294967295"/>
          </p:nvPr>
        </p:nvSpPr>
        <p:spPr bwMode="auto">
          <a:ln>
            <a:solidFill>
              <a:srgbClr val="000000"/>
            </a:solidFill>
            <a:miter lim="800000"/>
            <a:headEnd/>
            <a:tailEnd/>
          </a:ln>
        </p:spPr>
      </p:sp>
      <p:sp>
        <p:nvSpPr>
          <p:cNvPr id="51202" name="文本占位符 2"/>
          <p:cNvSpPr>
            <a:spLocks noGrp="1" noChangeArrowheads="1"/>
          </p:cNvSpPr>
          <p:nvPr>
            <p:ph type="body" idx="429496729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smtClean="0"/>
              <a:t>领导者</a:t>
            </a:r>
          </a:p>
          <a:p>
            <a:r>
              <a:rPr lang="zh-CN" altLang="en-US" smtClean="0"/>
              <a:t>管理者</a:t>
            </a:r>
          </a:p>
          <a:p>
            <a:r>
              <a:rPr lang="zh-CN" altLang="en-US" smtClean="0"/>
              <a:t>执行者</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幻灯片图像占位符 1"/>
          <p:cNvSpPr>
            <a:spLocks noGrp="1" noRot="1" noChangeAspect="1" noChangeArrowheads="1"/>
          </p:cNvSpPr>
          <p:nvPr>
            <p:ph type="sldImg" idx="4294967295"/>
          </p:nvPr>
        </p:nvSpPr>
        <p:spPr bwMode="auto">
          <a:ln>
            <a:solidFill>
              <a:srgbClr val="000000"/>
            </a:solidFill>
            <a:miter lim="800000"/>
            <a:headEnd/>
            <a:tailEnd/>
          </a:ln>
        </p:spPr>
      </p:sp>
      <p:sp>
        <p:nvSpPr>
          <p:cNvPr id="3" name="文本占位符 2"/>
          <p:cNvSpPr>
            <a:spLocks noGrp="1"/>
          </p:cNvSpPr>
          <p:nvPr>
            <p:ph type="body" idx="3"/>
          </p:nvPr>
        </p:nvSpPr>
        <p:spPr/>
        <p:txBody>
          <a:bodyPr/>
          <a:lstStyle/>
          <a:p>
            <a:r>
              <a:rPr lang="zh-CN" altLang="en-US" b="1" noProof="1">
                <a:solidFill>
                  <a:srgbClr val="002060"/>
                </a:solidFill>
                <a:latin typeface="Source Han Sans SC Regular" charset="0"/>
                <a:sym typeface="+mn-ea"/>
              </a:rPr>
              <a:t>项目生命周期</a:t>
            </a:r>
            <a:r>
              <a:rPr lang="zh-CN" altLang="en-US" noProof="1">
                <a:solidFill>
                  <a:srgbClr val="221E1F"/>
                </a:solidFill>
                <a:latin typeface="Source Han Sans SC Regular" charset="0"/>
                <a:sym typeface="+mn-ea"/>
              </a:rPr>
              <a:t>：</a:t>
            </a:r>
            <a:r>
              <a:rPr lang="zh-CN" altLang="en-US" noProof="1">
                <a:solidFill>
                  <a:srgbClr val="002060"/>
                </a:solidFill>
                <a:latin typeface="Source Han Sans SC Regular" charset="0"/>
                <a:sym typeface="+mn-ea"/>
              </a:rPr>
              <a:t>开始项目、组织与准备、执行项目工作、结束项目</a:t>
            </a:r>
          </a:p>
          <a:p>
            <a:pPr indent="144780"/>
            <a:r>
              <a:rPr lang="zh-CN" altLang="en-US" noProof="1">
                <a:solidFill>
                  <a:srgbClr val="221E1F"/>
                </a:solidFill>
                <a:latin typeface="Source Han Sans SC Regular" charset="0"/>
                <a:ea typeface="微软雅黑" panose="020B0503020204020204" pitchFamily="34" charset="-122"/>
                <a:sym typeface="+mn-ea"/>
              </a:rPr>
              <a:t>由项目管理团队确定各个项目最适合的生命周期。项目生命周期需要足够灵活，能够应对项目包含的各种因素。可以通过以下方法实现生命周期的灵活性： </a:t>
            </a:r>
            <a:endParaRPr lang="zh-CN" altLang="en-US" noProof="1">
              <a:solidFill>
                <a:srgbClr val="221E1F"/>
              </a:solidFill>
              <a:latin typeface="Wingdings" panose="05000000000000000000" charset="0"/>
              <a:ea typeface="微软雅黑" panose="020B0503020204020204" pitchFamily="34" charset="-122"/>
            </a:endParaRPr>
          </a:p>
          <a:p>
            <a:pPr indent="144780"/>
            <a:r>
              <a:rPr lang="en-US" altLang="zh-CN" noProof="1">
                <a:solidFill>
                  <a:srgbClr val="221E1F"/>
                </a:solidFill>
                <a:latin typeface="Wingdings" panose="05000000000000000000" charset="0"/>
                <a:ea typeface="微软雅黑" panose="020B0503020204020204" pitchFamily="34" charset="-122"/>
                <a:sym typeface="+mn-ea"/>
              </a:rPr>
              <a:t>uu</a:t>
            </a:r>
            <a:r>
              <a:rPr lang="zh-CN" altLang="en-US" noProof="1">
                <a:solidFill>
                  <a:srgbClr val="221E1F"/>
                </a:solidFill>
                <a:latin typeface="Source Han Sans SC Regular" charset="0"/>
                <a:ea typeface="微软雅黑" panose="020B0503020204020204" pitchFamily="34" charset="-122"/>
                <a:sym typeface="+mn-ea"/>
              </a:rPr>
              <a:t>确定需要在各个阶段实施的一个或多个过程； </a:t>
            </a:r>
          </a:p>
          <a:p>
            <a:pPr indent="144780"/>
            <a:r>
              <a:rPr lang="en-US" altLang="zh-CN" noProof="1">
                <a:solidFill>
                  <a:srgbClr val="221E1F"/>
                </a:solidFill>
                <a:latin typeface="Wingdings" panose="05000000000000000000" charset="0"/>
                <a:ea typeface="微软雅黑" panose="020B0503020204020204" pitchFamily="34" charset="-122"/>
                <a:sym typeface="+mn-ea"/>
              </a:rPr>
              <a:t>uu</a:t>
            </a:r>
            <a:r>
              <a:rPr lang="zh-CN" altLang="en-US" noProof="1">
                <a:solidFill>
                  <a:srgbClr val="221E1F"/>
                </a:solidFill>
                <a:latin typeface="Source Han Sans SC Regular" charset="0"/>
                <a:ea typeface="微软雅黑" panose="020B0503020204020204" pitchFamily="34" charset="-122"/>
                <a:sym typeface="+mn-ea"/>
              </a:rPr>
              <a:t>在合适的阶段实施确定的一个或多个过程； </a:t>
            </a:r>
          </a:p>
          <a:p>
            <a:pPr indent="144780"/>
            <a:r>
              <a:rPr lang="en-US" altLang="zh-CN" noProof="1">
                <a:solidFill>
                  <a:srgbClr val="221E1F"/>
                </a:solidFill>
                <a:latin typeface="Wingdings" panose="05000000000000000000" charset="0"/>
                <a:ea typeface="微软雅黑" panose="020B0503020204020204" pitchFamily="34" charset="-122"/>
                <a:sym typeface="+mn-ea"/>
              </a:rPr>
              <a:t>uu</a:t>
            </a:r>
            <a:r>
              <a:rPr lang="zh-CN" altLang="en-US" noProof="1">
                <a:solidFill>
                  <a:srgbClr val="221E1F"/>
                </a:solidFill>
                <a:latin typeface="Source Han Sans SC Regular" charset="0"/>
                <a:ea typeface="微软雅黑" panose="020B0503020204020204" pitchFamily="34" charset="-122"/>
                <a:sym typeface="+mn-ea"/>
              </a:rPr>
              <a:t>调整阶段的各种属性（例如名称、持续时间、退出标准和准入标准）。</a:t>
            </a:r>
            <a:endParaRPr lang="zh-CN" altLang="en-US" noProof="1"/>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幻灯片图像占位符 1"/>
          <p:cNvSpPr>
            <a:spLocks noGrp="1" noRot="1" noChangeAspect="1" noChangeArrowheads="1"/>
          </p:cNvSpPr>
          <p:nvPr>
            <p:ph type="sldImg" idx="4294967295"/>
          </p:nvPr>
        </p:nvSpPr>
        <p:spPr bwMode="auto">
          <a:ln>
            <a:solidFill>
              <a:srgbClr val="000000"/>
            </a:solidFill>
            <a:miter lim="800000"/>
            <a:headEnd/>
            <a:tailEnd/>
          </a:ln>
        </p:spPr>
      </p:sp>
      <p:sp>
        <p:nvSpPr>
          <p:cNvPr id="56322" name="文本占位符 2"/>
          <p:cNvSpPr>
            <a:spLocks noGrp="1" noChangeArrowheads="1"/>
          </p:cNvSpPr>
          <p:nvPr>
            <p:ph type="body" idx="429496729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幻灯片图像占位符 1"/>
          <p:cNvSpPr>
            <a:spLocks noGrp="1" noRot="1" noChangeAspect="1" noChangeArrowheads="1"/>
          </p:cNvSpPr>
          <p:nvPr>
            <p:ph type="sldImg" idx="4294967295"/>
          </p:nvPr>
        </p:nvSpPr>
        <p:spPr bwMode="auto">
          <a:ln>
            <a:solidFill>
              <a:srgbClr val="000000"/>
            </a:solidFill>
            <a:miter lim="800000"/>
            <a:headEnd/>
            <a:tailEnd/>
          </a:ln>
        </p:spPr>
      </p:sp>
      <p:sp>
        <p:nvSpPr>
          <p:cNvPr id="61442" name="文本占位符 2"/>
          <p:cNvSpPr>
            <a:spLocks noGrp="1" noChangeArrowheads="1"/>
          </p:cNvSpPr>
          <p:nvPr>
            <p:ph type="body" idx="429496729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smtClean="0"/>
              <a:t>三从四得</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幻灯片图像占位符 1"/>
          <p:cNvSpPr>
            <a:spLocks noGrp="1" noRot="1" noChangeAspect="1" noChangeArrowheads="1"/>
          </p:cNvSpPr>
          <p:nvPr>
            <p:ph type="sldImg" idx="4294967295"/>
          </p:nvPr>
        </p:nvSpPr>
        <p:spPr bwMode="auto">
          <a:ln>
            <a:solidFill>
              <a:srgbClr val="000000"/>
            </a:solidFill>
            <a:miter lim="800000"/>
            <a:headEnd/>
            <a:tailEnd/>
          </a:ln>
        </p:spPr>
      </p:sp>
      <p:sp>
        <p:nvSpPr>
          <p:cNvPr id="64514" name="文本占位符 2"/>
          <p:cNvSpPr>
            <a:spLocks noGrp="1" noChangeArrowheads="1"/>
          </p:cNvSpPr>
          <p:nvPr>
            <p:ph type="body" idx="429496729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幻灯片图像占位符 1"/>
          <p:cNvSpPr>
            <a:spLocks noGrp="1" noRot="1" noChangeAspect="1" noChangeArrowheads="1"/>
          </p:cNvSpPr>
          <p:nvPr>
            <p:ph type="sldImg" idx="4294967295"/>
          </p:nvPr>
        </p:nvSpPr>
        <p:spPr bwMode="auto">
          <a:ln>
            <a:solidFill>
              <a:srgbClr val="000000"/>
            </a:solidFill>
            <a:miter lim="800000"/>
            <a:headEnd/>
            <a:tailEnd/>
          </a:ln>
        </p:spPr>
      </p:sp>
      <p:sp>
        <p:nvSpPr>
          <p:cNvPr id="21506" name="文本占位符 2"/>
          <p:cNvSpPr>
            <a:spLocks noGrp="1" noChangeArrowheads="1"/>
          </p:cNvSpPr>
          <p:nvPr>
            <p:ph type="body" idx="429496729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zh-CN" alt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幻灯片图像占位符 1"/>
          <p:cNvSpPr>
            <a:spLocks noGrp="1" noRot="1" noChangeAspect="1" noChangeArrowheads="1"/>
          </p:cNvSpPr>
          <p:nvPr>
            <p:ph type="sldImg" idx="4294967295"/>
          </p:nvPr>
        </p:nvSpPr>
        <p:spPr bwMode="auto">
          <a:ln>
            <a:solidFill>
              <a:srgbClr val="000000"/>
            </a:solidFill>
            <a:miter lim="800000"/>
            <a:headEnd/>
            <a:tailEnd/>
          </a:ln>
        </p:spPr>
      </p:sp>
      <p:sp>
        <p:nvSpPr>
          <p:cNvPr id="66562" name="文本占位符 2"/>
          <p:cNvSpPr>
            <a:spLocks noGrp="1" noChangeArrowheads="1"/>
          </p:cNvSpPr>
          <p:nvPr>
            <p:ph type="body" idx="429496729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幻灯片图像占位符 1"/>
          <p:cNvSpPr>
            <a:spLocks noGrp="1" noRot="1" noChangeAspect="1" noChangeArrowheads="1"/>
          </p:cNvSpPr>
          <p:nvPr>
            <p:ph type="sldImg" idx="4294967295"/>
          </p:nvPr>
        </p:nvSpPr>
        <p:spPr bwMode="auto">
          <a:ln>
            <a:solidFill>
              <a:srgbClr val="000000"/>
            </a:solidFill>
            <a:miter lim="800000"/>
            <a:headEnd/>
            <a:tailEnd/>
          </a:ln>
        </p:spPr>
      </p:sp>
      <p:sp>
        <p:nvSpPr>
          <p:cNvPr id="69634" name="文本占位符 2"/>
          <p:cNvSpPr>
            <a:spLocks noGrp="1" noChangeArrowheads="1"/>
          </p:cNvSpPr>
          <p:nvPr>
            <p:ph type="body" idx="429496729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幻灯片图像占位符 1"/>
          <p:cNvSpPr>
            <a:spLocks noGrp="1" noRot="1" noChangeAspect="1" noChangeArrowheads="1"/>
          </p:cNvSpPr>
          <p:nvPr>
            <p:ph type="sldImg" idx="4294967295"/>
          </p:nvPr>
        </p:nvSpPr>
        <p:spPr bwMode="auto">
          <a:ln>
            <a:solidFill>
              <a:srgbClr val="000000"/>
            </a:solidFill>
            <a:miter lim="800000"/>
            <a:headEnd/>
            <a:tailEnd/>
          </a:ln>
        </p:spPr>
      </p:sp>
      <p:sp>
        <p:nvSpPr>
          <p:cNvPr id="71682" name="文本占位符 2"/>
          <p:cNvSpPr>
            <a:spLocks noGrp="1" noChangeArrowheads="1"/>
          </p:cNvSpPr>
          <p:nvPr>
            <p:ph type="body" idx="429496729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备注占位符 2"/>
          <p:cNvSpPr>
            <a:spLocks noGrp="1"/>
          </p:cNvSpPr>
          <p:nvPr>
            <p:ph type="body" idx="1"/>
          </p:nvPr>
        </p:nvSpPr>
        <p:spPr/>
        <p:txBody>
          <a:bodyPr/>
          <a:lstStyle/>
          <a:p>
            <a:pPr>
              <a:defRPr/>
            </a:pPr>
            <a:r>
              <a:rPr lang="zh-CN" altLang="en-US" b="1" kern="0" dirty="0">
                <a:solidFill>
                  <a:srgbClr val="0070C0"/>
                </a:solidFill>
                <a:latin typeface="微软雅黑" panose="020B0503020204020204" pitchFamily="34" charset="-122"/>
                <a:ea typeface="+mj-ea"/>
                <a:cs typeface="+mj-cs"/>
                <a:sym typeface="+mn-ea"/>
              </a:rPr>
              <a:t>如何</a:t>
            </a:r>
            <a:r>
              <a:rPr lang="zh-CN" altLang="en-US" b="1" kern="0" dirty="0">
                <a:solidFill>
                  <a:srgbClr val="00B050"/>
                </a:solidFill>
                <a:latin typeface="微软雅黑" panose="020B0503020204020204" pitchFamily="34" charset="-122"/>
                <a:ea typeface="+mj-ea"/>
                <a:cs typeface="+mj-cs"/>
                <a:sym typeface="+mn-ea"/>
              </a:rPr>
              <a:t>多</a:t>
            </a:r>
            <a:r>
              <a:rPr lang="zh-CN" altLang="en-US" b="1" kern="0" dirty="0">
                <a:solidFill>
                  <a:srgbClr val="FFC000"/>
                </a:solidFill>
                <a:latin typeface="微软雅黑" panose="020B0503020204020204" pitchFamily="34" charset="-122"/>
                <a:ea typeface="+mj-ea"/>
                <a:cs typeface="+mj-cs"/>
                <a:sym typeface="+mn-ea"/>
              </a:rPr>
              <a:t>快</a:t>
            </a:r>
            <a:r>
              <a:rPr lang="zh-CN" altLang="en-US" b="1" kern="0" dirty="0">
                <a:solidFill>
                  <a:srgbClr val="00B050"/>
                </a:solidFill>
                <a:latin typeface="微软雅黑" panose="020B0503020204020204" pitchFamily="34" charset="-122"/>
                <a:ea typeface="+mj-ea"/>
                <a:cs typeface="+mj-cs"/>
                <a:sym typeface="+mn-ea"/>
              </a:rPr>
              <a:t>好</a:t>
            </a:r>
            <a:r>
              <a:rPr lang="zh-CN" altLang="en-US" b="1" kern="0" dirty="0">
                <a:solidFill>
                  <a:srgbClr val="FFC000"/>
                </a:solidFill>
                <a:latin typeface="微软雅黑" panose="020B0503020204020204" pitchFamily="34" charset="-122"/>
                <a:ea typeface="+mj-ea"/>
                <a:cs typeface="+mj-cs"/>
                <a:sym typeface="+mn-ea"/>
              </a:rPr>
              <a:t>省</a:t>
            </a:r>
            <a:r>
              <a:rPr lang="zh-CN" altLang="en-US" b="1" kern="0" dirty="0">
                <a:solidFill>
                  <a:srgbClr val="0070C0"/>
                </a:solidFill>
                <a:latin typeface="微软雅黑" panose="020B0503020204020204" pitchFamily="34" charset="-122"/>
                <a:ea typeface="+mj-ea"/>
                <a:cs typeface="+mj-cs"/>
                <a:sym typeface="+mn-ea"/>
              </a:rPr>
              <a:t>一次性快速通过考试？</a:t>
            </a:r>
            <a:endParaRPr lang="zh-CN" altLang="en-US"/>
          </a:p>
        </p:txBody>
      </p:sp>
      <p:sp>
        <p:nvSpPr>
          <p:cNvPr id="84996" name="灯片编号占位符 3"/>
          <p:cNvSpPr>
            <a:spLocks noGrp="1"/>
          </p:cNvSpPr>
          <p:nvPr>
            <p:ph type="sldNum" sz="quarter" idx="5"/>
          </p:nvPr>
        </p:nvSpPr>
        <p:spPr bwMode="auto">
          <a:extLst/>
        </p:spPr>
        <p:txBody>
          <a:bodyPr>
            <a:prstTxWarp prst="textNoShape">
              <a:avLst/>
            </a:prstTxWarp>
          </a:bodyPr>
          <a:lstStyle>
            <a:lvl1pPr>
              <a:buFont typeface="Arial" pitchFamily="34" charset="0"/>
              <a:defRPr>
                <a:solidFill>
                  <a:schemeClr val="tx1"/>
                </a:solidFill>
                <a:latin typeface="Tw Cen MT"/>
                <a:ea typeface="微软雅黑" pitchFamily="34" charset="-122"/>
              </a:defRPr>
            </a:lvl1pPr>
            <a:lvl2pPr marL="742950" indent="-285750">
              <a:buFont typeface="Arial" pitchFamily="34" charset="0"/>
              <a:defRPr>
                <a:solidFill>
                  <a:schemeClr val="tx1"/>
                </a:solidFill>
                <a:latin typeface="Tw Cen MT"/>
                <a:ea typeface="微软雅黑" pitchFamily="34" charset="-122"/>
              </a:defRPr>
            </a:lvl2pPr>
            <a:lvl3pPr marL="1143000" indent="-228600">
              <a:buFont typeface="Arial" pitchFamily="34" charset="0"/>
              <a:defRPr>
                <a:solidFill>
                  <a:schemeClr val="tx1"/>
                </a:solidFill>
                <a:latin typeface="Tw Cen MT"/>
                <a:ea typeface="微软雅黑" pitchFamily="34" charset="-122"/>
              </a:defRPr>
            </a:lvl3pPr>
            <a:lvl4pPr marL="1600200" indent="-228600">
              <a:buFont typeface="Arial" pitchFamily="34" charset="0"/>
              <a:defRPr>
                <a:solidFill>
                  <a:schemeClr val="tx1"/>
                </a:solidFill>
                <a:latin typeface="Tw Cen MT"/>
                <a:ea typeface="微软雅黑" pitchFamily="34" charset="-122"/>
              </a:defRPr>
            </a:lvl4pPr>
            <a:lvl5pPr marL="2057400" indent="-228600">
              <a:buFont typeface="Arial" pitchFamily="34" charset="0"/>
              <a:defRPr>
                <a:solidFill>
                  <a:schemeClr val="tx1"/>
                </a:solidFill>
                <a:latin typeface="Tw Cen MT"/>
                <a:ea typeface="微软雅黑" pitchFamily="34" charset="-122"/>
              </a:defRPr>
            </a:lvl5pPr>
            <a:lvl6pPr marL="2514600" indent="-228600" fontAlgn="base">
              <a:spcBef>
                <a:spcPct val="0"/>
              </a:spcBef>
              <a:spcAft>
                <a:spcPct val="0"/>
              </a:spcAft>
              <a:buFont typeface="Arial" pitchFamily="34" charset="0"/>
              <a:defRPr>
                <a:solidFill>
                  <a:schemeClr val="tx1"/>
                </a:solidFill>
                <a:latin typeface="Tw Cen MT"/>
                <a:ea typeface="微软雅黑" pitchFamily="34" charset="-122"/>
              </a:defRPr>
            </a:lvl6pPr>
            <a:lvl7pPr marL="2971800" indent="-228600" fontAlgn="base">
              <a:spcBef>
                <a:spcPct val="0"/>
              </a:spcBef>
              <a:spcAft>
                <a:spcPct val="0"/>
              </a:spcAft>
              <a:buFont typeface="Arial" pitchFamily="34" charset="0"/>
              <a:defRPr>
                <a:solidFill>
                  <a:schemeClr val="tx1"/>
                </a:solidFill>
                <a:latin typeface="Tw Cen MT"/>
                <a:ea typeface="微软雅黑" pitchFamily="34" charset="-122"/>
              </a:defRPr>
            </a:lvl7pPr>
            <a:lvl8pPr marL="3429000" indent="-228600" fontAlgn="base">
              <a:spcBef>
                <a:spcPct val="0"/>
              </a:spcBef>
              <a:spcAft>
                <a:spcPct val="0"/>
              </a:spcAft>
              <a:buFont typeface="Arial" pitchFamily="34" charset="0"/>
              <a:defRPr>
                <a:solidFill>
                  <a:schemeClr val="tx1"/>
                </a:solidFill>
                <a:latin typeface="Tw Cen MT"/>
                <a:ea typeface="微软雅黑" pitchFamily="34" charset="-122"/>
              </a:defRPr>
            </a:lvl8pPr>
            <a:lvl9pPr marL="3886200" indent="-228600" fontAlgn="base">
              <a:spcBef>
                <a:spcPct val="0"/>
              </a:spcBef>
              <a:spcAft>
                <a:spcPct val="0"/>
              </a:spcAft>
              <a:buFont typeface="Arial" pitchFamily="34" charset="0"/>
              <a:defRPr>
                <a:solidFill>
                  <a:schemeClr val="tx1"/>
                </a:solidFill>
                <a:latin typeface="Tw Cen MT"/>
                <a:ea typeface="微软雅黑" pitchFamily="34" charset="-122"/>
              </a:defRPr>
            </a:lvl9pPr>
          </a:lstStyle>
          <a:p>
            <a:pPr algn="l">
              <a:defRPr/>
            </a:pPr>
            <a:fld id="{D727F4FF-75DB-4B3B-ABDB-F4ECCBA3105E}" type="slidenum">
              <a:rPr lang="zh-CN" altLang="en-US" sz="1800" dirty="0" smtClean="0"/>
              <a:pPr algn="l">
                <a:defRPr/>
              </a:pPr>
              <a:t>36</a:t>
            </a:fld>
            <a:endParaRPr lang="zh-CN" altLang="en-US" sz="180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幻灯片图像占位符 1"/>
          <p:cNvSpPr>
            <a:spLocks noGrp="1" noRot="1" noChangeAspect="1" noChangeArrowheads="1" noTextEdit="1"/>
          </p:cNvSpPr>
          <p:nvPr>
            <p:ph type="sldImg" idx="4294967295"/>
          </p:nvPr>
        </p:nvSpPr>
        <p:spPr bwMode="auto">
          <a:ln>
            <a:solidFill>
              <a:srgbClr val="000000"/>
            </a:solidFill>
            <a:miter lim="800000"/>
            <a:headEnd/>
            <a:tailEnd/>
          </a:ln>
        </p:spPr>
      </p:sp>
      <p:sp>
        <p:nvSpPr>
          <p:cNvPr id="23554" name="备注占位符 2"/>
          <p:cNvSpPr>
            <a:spLocks noGrp="1" noChangeArrowheads="1"/>
          </p:cNvSpPr>
          <p:nvPr>
            <p:ph type="body" idx="429496729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zh-CN" alt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幻灯片图像占位符 1"/>
          <p:cNvSpPr>
            <a:spLocks noGrp="1" noRot="1" noChangeAspect="1" noChangeArrowheads="1" noTextEdit="1"/>
          </p:cNvSpPr>
          <p:nvPr>
            <p:ph type="sldImg" idx="4294967295"/>
          </p:nvPr>
        </p:nvSpPr>
        <p:spPr bwMode="auto">
          <a:ln>
            <a:solidFill>
              <a:srgbClr val="000000"/>
            </a:solidFill>
            <a:miter lim="800000"/>
            <a:headEnd/>
            <a:tailEnd/>
          </a:ln>
        </p:spPr>
      </p:sp>
      <p:sp>
        <p:nvSpPr>
          <p:cNvPr id="25602" name="备注占位符 2"/>
          <p:cNvSpPr>
            <a:spLocks noGrp="1" noChangeArrowheads="1"/>
          </p:cNvSpPr>
          <p:nvPr>
            <p:ph type="body" idx="429496729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zh-CN" altLang="en-US" smtClean="0"/>
              <a:t>• 启动过程组：定义一个新项目或现有项目的一个新阶段，授权开始该项目或阶段的一组过程——千里之行、始于足下（名正言顺、人鬼佛神）</a:t>
            </a:r>
          </a:p>
          <a:p>
            <a:pPr eaLnBrk="1" hangingPunct="1"/>
            <a:r>
              <a:rPr lang="zh-CN" altLang="en-US" smtClean="0"/>
              <a:t>• 规划过程组：明确项目范围，优化目标，为实现目标制定行动方案的一组过程——运筹帷幄、决胜千里（多算趋吉、少算得凶）</a:t>
            </a:r>
          </a:p>
          <a:p>
            <a:pPr eaLnBrk="1" hangingPunct="1"/>
            <a:r>
              <a:rPr lang="zh-CN" altLang="en-US" smtClean="0"/>
              <a:t>• 执行过程组：完成项目管理计划中确定的工作，以满足项目要求的一组过程。——言出必行、行必结果（依计而行、行必有果）</a:t>
            </a:r>
          </a:p>
          <a:p>
            <a:pPr eaLnBrk="1" hangingPunct="1"/>
            <a:r>
              <a:rPr lang="zh-CN" altLang="en-US" smtClean="0"/>
              <a:t>• 监控过程组：跟踪、审查和调整项目进展与绩效，识别必要的计划变更并启动相应变更的一组过程。——审时度势、沉着应变（审偏纠差、控制变化）</a:t>
            </a:r>
          </a:p>
          <a:p>
            <a:pPr eaLnBrk="1" hangingPunct="1"/>
            <a:r>
              <a:rPr lang="zh-CN" altLang="en-US" smtClean="0"/>
              <a:t>• 收尾过程组：正式完成或结束项目、阶段或合同所执行的过程。——有始有终、如履薄冰启（慎终如始、好戏杀青）</a:t>
            </a:r>
          </a:p>
          <a:p>
            <a:pPr eaLnBrk="1" hangingPunct="1"/>
            <a:endParaRPr lang="zh-CN" altLang="en-US" smtClean="0"/>
          </a:p>
          <a:p>
            <a:pPr eaLnBrk="1" hangingPunct="1"/>
            <a:r>
              <a:rPr lang="zh-CN" altLang="en-US" smtClean="0"/>
              <a:t>项目整合管理：一个字概括“搞”，搞人脉、搞关系、搞资源、搞工作。</a:t>
            </a:r>
          </a:p>
          <a:p>
            <a:pPr eaLnBrk="1" hangingPunct="1"/>
            <a:r>
              <a:rPr lang="zh-CN" altLang="en-US" smtClean="0"/>
              <a:t>项目范围管理：两个字概括“取舍”，哪些该做是取，哪些不该做是舍。</a:t>
            </a:r>
          </a:p>
          <a:p>
            <a:pPr eaLnBrk="1" hangingPunct="1"/>
            <a:endParaRPr lang="zh-CN" altLang="en-US" smtClean="0"/>
          </a:p>
          <a:p>
            <a:pPr eaLnBrk="1" hangingPunct="1"/>
            <a:r>
              <a:rPr lang="zh-CN" altLang="en-US" smtClean="0"/>
              <a:t>项目进度管理：两个字概括“快慢”，保持节奏是进度管理的关键。</a:t>
            </a:r>
          </a:p>
          <a:p>
            <a:pPr eaLnBrk="1" hangingPunct="1"/>
            <a:r>
              <a:rPr lang="zh-CN" altLang="en-US" smtClean="0"/>
              <a:t>项目成本管理：两个字概括“俭奢”，平衡成本和预算，不节约不浪费最好。</a:t>
            </a:r>
          </a:p>
          <a:p>
            <a:pPr eaLnBrk="1" hangingPunct="1"/>
            <a:endParaRPr lang="zh-CN" altLang="en-US" smtClean="0"/>
          </a:p>
          <a:p>
            <a:pPr eaLnBrk="1" hangingPunct="1"/>
            <a:r>
              <a:rPr lang="zh-CN" altLang="en-US" smtClean="0"/>
              <a:t>项目质量管理：两个字概括“好坏”，范围解决了有无，质量解决了有之后的好坏。</a:t>
            </a:r>
          </a:p>
          <a:p>
            <a:pPr eaLnBrk="1" hangingPunct="1"/>
            <a:r>
              <a:rPr lang="zh-CN" altLang="en-US" smtClean="0"/>
              <a:t>项目资源管理：两个字概括“仁责”，团队搞好关系和气氛是仁，强调角色、分工是责。</a:t>
            </a:r>
          </a:p>
          <a:p>
            <a:pPr eaLnBrk="1" hangingPunct="1"/>
            <a:endParaRPr lang="zh-CN" altLang="en-US" smtClean="0"/>
          </a:p>
          <a:p>
            <a:pPr eaLnBrk="1" hangingPunct="1"/>
            <a:r>
              <a:rPr lang="zh-CN" altLang="en-US" smtClean="0"/>
              <a:t>项目沟通管理：两个字概括“听说”，沟通的关键是倾听，然后才是说教。</a:t>
            </a:r>
          </a:p>
          <a:p>
            <a:pPr eaLnBrk="1" hangingPunct="1"/>
            <a:r>
              <a:rPr lang="zh-CN" altLang="en-US" smtClean="0"/>
              <a:t>项目风险管理：两个字概括“利弊”，整个项目过程要权衡利弊，管控风险。</a:t>
            </a:r>
          </a:p>
          <a:p>
            <a:pPr eaLnBrk="1" hangingPunct="1"/>
            <a:r>
              <a:rPr lang="zh-CN" altLang="en-US" smtClean="0"/>
              <a:t>项目采购管理：两个字概括“买卖”，PM要有生意头脑，做好采购这笔买卖</a:t>
            </a:r>
          </a:p>
          <a:p>
            <a:pPr eaLnBrk="1" hangingPunct="1"/>
            <a:r>
              <a:rPr lang="zh-CN" altLang="en-US" smtClean="0"/>
              <a:t>项目干系人（干系人）管理：两个字概括“神佛”，求神拜佛，不要脸的本事叫“软技能”。</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Slide Image Placeholder 1"/>
          <p:cNvSpPr>
            <a:spLocks noGrp="1" noRot="1" noChangeAspect="1" noChangeArrowheads="1" noTextEdit="1"/>
          </p:cNvSpPr>
          <p:nvPr>
            <p:ph type="sldImg" idx="4294967295"/>
          </p:nvPr>
        </p:nvSpPr>
        <p:spPr bwMode="auto">
          <a:ln>
            <a:solidFill>
              <a:srgbClr val="000000"/>
            </a:solidFill>
            <a:miter lim="800000"/>
            <a:headEnd/>
            <a:tailEnd/>
          </a:ln>
        </p:spPr>
      </p:sp>
      <p:sp>
        <p:nvSpPr>
          <p:cNvPr id="29698" name="Notes Placeholder 2"/>
          <p:cNvSpPr>
            <a:spLocks noGrp="1" noChangeArrowheads="1"/>
          </p:cNvSpPr>
          <p:nvPr>
            <p:ph type="body" idx="429496729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zh-CN" altLang="zh-CN" smtClean="0"/>
          </a:p>
        </p:txBody>
      </p:sp>
      <p:sp>
        <p:nvSpPr>
          <p:cNvPr id="29699"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l"/>
            <a:fld id="{DAACB229-334D-4248-A0AC-34BD5D14F15D}" type="slidenum">
              <a:rPr lang="en-US" altLang="zh-CN" sz="1800">
                <a:latin typeface="Calibri" pitchFamily="34" charset="0"/>
              </a:rPr>
              <a:pPr algn="l"/>
              <a:t>11</a:t>
            </a:fld>
            <a:endParaRPr lang="en-US" altLang="zh-CN" sz="1800">
              <a:latin typeface="Calibri"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幻灯片图像占位符 1"/>
          <p:cNvSpPr>
            <a:spLocks noGrp="1" noRot="1" noChangeAspect="1" noChangeArrowheads="1"/>
          </p:cNvSpPr>
          <p:nvPr>
            <p:ph type="sldImg" idx="4294967295"/>
          </p:nvPr>
        </p:nvSpPr>
        <p:spPr bwMode="auto">
          <a:ln>
            <a:solidFill>
              <a:srgbClr val="000000"/>
            </a:solidFill>
            <a:miter lim="800000"/>
            <a:headEnd/>
            <a:tailEnd/>
          </a:ln>
        </p:spPr>
      </p:sp>
      <p:sp>
        <p:nvSpPr>
          <p:cNvPr id="31746" name="文本占位符 2"/>
          <p:cNvSpPr>
            <a:spLocks noGrp="1" noChangeArrowheads="1"/>
          </p:cNvSpPr>
          <p:nvPr>
            <p:ph type="body" idx="4294967295"/>
          </p:nvPr>
        </p:nvSpPr>
        <p:spPr bwMode="auto"/>
        <p:txBody>
          <a:bodyPr wrap="square" numCol="1" anchor="t" anchorCtr="0" compatLnSpc="1">
            <a:prstTxWarp prst="textNoShape">
              <a:avLst/>
            </a:prstTxWarp>
          </a:bodyPr>
          <a:lstStyle/>
          <a:p>
            <a:r>
              <a:rPr lang="zh-CN" altLang="en-US" smtClean="0"/>
              <a:t>第一个是责任</a:t>
            </a:r>
            <a:r>
              <a:rPr lang="en-US" altLang="zh-CN" smtClean="0"/>
              <a:t>——</a:t>
            </a:r>
            <a:r>
              <a:rPr lang="zh-CN" altLang="en-US" smtClean="0"/>
              <a:t>老师、律师、工程师、公务员都要克尽厥职！考题：</a:t>
            </a:r>
            <a:r>
              <a:rPr lang="en-US" altLang="zh-CN" smtClean="0"/>
              <a:t>PM</a:t>
            </a:r>
            <a:r>
              <a:rPr lang="zh-CN" altLang="en-US" smtClean="0"/>
              <a:t>自己首先自己积极想办法、解决问题。然后最好给上级做选择题，不能只给问答题。</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幻灯片图像占位符 1"/>
          <p:cNvSpPr>
            <a:spLocks noGrp="1" noRot="1" noChangeAspect="1" noChangeArrowheads="1"/>
          </p:cNvSpPr>
          <p:nvPr>
            <p:ph type="sldImg" idx="4294967295"/>
          </p:nvPr>
        </p:nvSpPr>
        <p:spPr bwMode="auto">
          <a:ln>
            <a:solidFill>
              <a:srgbClr val="000000"/>
            </a:solidFill>
            <a:miter lim="800000"/>
            <a:headEnd/>
            <a:tailEnd/>
          </a:ln>
        </p:spPr>
      </p:sp>
      <p:sp>
        <p:nvSpPr>
          <p:cNvPr id="33794" name="文本占位符 2"/>
          <p:cNvSpPr>
            <a:spLocks noGrp="1" noChangeArrowheads="1"/>
          </p:cNvSpPr>
          <p:nvPr>
            <p:ph type="body" idx="429496729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smtClean="0"/>
              <a:t>开展项目是为了通过可交付成果达成目标。</a:t>
            </a:r>
          </a:p>
          <a:p>
            <a:r>
              <a:rPr lang="zh-CN" altLang="en-US" smtClean="0"/>
              <a:t>目标指的是工作所指向的结果，要达到的战略地位，要达到的目的，要取得的成果，要生产的产品，或者准备提供的服务。可交付成果指的是在某一过程、阶段或项目完成时，必须产出的任何独特并可核实的产品、成果或服务能力。可交付成果可能是有形的，也可能是无形的。</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幻灯片图像占位符 1"/>
          <p:cNvSpPr>
            <a:spLocks noGrp="1" noRot="1" noChangeAspect="1" noChangeArrowheads="1" noTextEdit="1"/>
          </p:cNvSpPr>
          <p:nvPr>
            <p:ph type="sldImg" idx="4294967295"/>
          </p:nvPr>
        </p:nvSpPr>
        <p:spPr bwMode="auto">
          <a:ln>
            <a:solidFill>
              <a:srgbClr val="000000"/>
            </a:solidFill>
            <a:miter lim="800000"/>
            <a:headEnd/>
            <a:tailEnd/>
          </a:ln>
        </p:spPr>
      </p:sp>
      <p:sp>
        <p:nvSpPr>
          <p:cNvPr id="35842" name="备注占位符 2"/>
          <p:cNvSpPr>
            <a:spLocks noGrp="1" noChangeArrowheads="1"/>
          </p:cNvSpPr>
          <p:nvPr>
            <p:ph type="body" idx="429496729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1" eaLnBrk="1" hangingPunct="1"/>
            <a:endParaRPr lang="zh-CN" alt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幻灯片图像占位符 1"/>
          <p:cNvSpPr>
            <a:spLocks noGrp="1" noRot="1" noChangeAspect="1" noChangeArrowheads="1" noTextEdit="1"/>
          </p:cNvSpPr>
          <p:nvPr>
            <p:ph type="sldImg" idx="4294967295"/>
          </p:nvPr>
        </p:nvSpPr>
        <p:spPr bwMode="auto">
          <a:ln>
            <a:solidFill>
              <a:srgbClr val="000000"/>
            </a:solidFill>
            <a:miter lim="800000"/>
            <a:headEnd/>
            <a:tailEnd/>
          </a:ln>
        </p:spPr>
      </p:sp>
      <p:sp>
        <p:nvSpPr>
          <p:cNvPr id="37890" name="备注占位符 2"/>
          <p:cNvSpPr>
            <a:spLocks noGrp="1" noChangeArrowheads="1"/>
          </p:cNvSpPr>
          <p:nvPr>
            <p:ph type="body" idx="429496729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zh-CN" altLang="en-US" smtClean="0"/>
              <a:t>骏马脚下无沟壑，怂人面前全是坎</a:t>
            </a:r>
            <a:endParaRPr lang="en-US" altLang="zh-CN" smtClean="0"/>
          </a:p>
          <a:p>
            <a:pPr eaLnBrk="1" hangingPunct="1"/>
            <a:r>
              <a:rPr lang="zh-CN" altLang="en-US" smtClean="0"/>
              <a:t>拥有伟大目标的癞蛤蟆</a:t>
            </a:r>
            <a:endParaRPr lang="en-US" altLang="zh-CN" smtClean="0"/>
          </a:p>
          <a:p>
            <a:pPr eaLnBrk="1" hangingPunct="1"/>
            <a:r>
              <a:rPr lang="zh-CN" altLang="en-US" smtClean="0"/>
              <a:t>井底之蛙</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320800" y="1122363"/>
            <a:ext cx="9474200" cy="2387600"/>
          </a:xfrm>
        </p:spPr>
        <p:txBody>
          <a:bodyPr anchor="b"/>
          <a:lstStyle>
            <a:lvl1pPr algn="ctr">
              <a:defRPr sz="6000"/>
            </a:lvl1pPr>
          </a:lstStyle>
          <a:p>
            <a:r>
              <a:rPr lang="zh-CN" altLang="en-US" noProof="1"/>
              <a:t>单击此处编辑母版标题样式</a:t>
            </a:r>
          </a:p>
        </p:txBody>
      </p:sp>
      <p:sp>
        <p:nvSpPr>
          <p:cNvPr id="3" name="副标题 2"/>
          <p:cNvSpPr>
            <a:spLocks noGrp="1"/>
          </p:cNvSpPr>
          <p:nvPr>
            <p:ph type="subTitle" idx="1"/>
          </p:nvPr>
        </p:nvSpPr>
        <p:spPr>
          <a:xfrm>
            <a:off x="1320800" y="3602038"/>
            <a:ext cx="94742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noProof="1"/>
              <a:t>单击此处编辑母版副标题样式</a:t>
            </a:r>
          </a:p>
        </p:txBody>
      </p:sp>
      <p:sp>
        <p:nvSpPr>
          <p:cNvPr id="4" name="日期占位符 3"/>
          <p:cNvSpPr>
            <a:spLocks noGrp="1"/>
          </p:cNvSpPr>
          <p:nvPr>
            <p:ph type="dt" sz="half" idx="10"/>
          </p:nvPr>
        </p:nvSpPr>
        <p:spPr/>
        <p:txBody>
          <a:bodyPr/>
          <a:lstStyle>
            <a:lvl1pPr>
              <a:defRPr/>
            </a:lvl1pPr>
          </a:lstStyle>
          <a:p>
            <a:pPr>
              <a:defRPr/>
            </a:pPr>
            <a:fld id="{E4A666F1-FF06-4A7F-A662-70218D6BE960}" type="datetimeFigureOut">
              <a:rPr lang="zh-CN" altLang="en-US"/>
              <a:pPr>
                <a:defRPr/>
              </a:pPr>
              <a:t>2018-12-06</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fld id="{0712F2BA-5BC0-4AB4-9F1E-2A39F3F753BF}" type="slidenum">
              <a:rPr lang="zh-CN" altLang="en-US"/>
              <a:pPr/>
              <a:t>‹#›</a:t>
            </a:fld>
            <a:endParaRPr lang="zh-CN" altLang="en-US"/>
          </a:p>
        </p:txBody>
      </p:sp>
    </p:spTree>
    <p:extLst>
      <p:ext uri="{BB962C8B-B14F-4D97-AF65-F5344CB8AC3E}">
        <p14:creationId xmlns:p14="http://schemas.microsoft.com/office/powerpoint/2010/main" val="524595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About">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1056220" y="1808784"/>
            <a:ext cx="10079567" cy="4536605"/>
          </a:xfrm>
        </p:spPr>
        <p:txBody>
          <a:bodyPr/>
          <a:lstStyle>
            <a:lvl1pPr marL="0" indent="0">
              <a:buNone/>
              <a:defRPr>
                <a:latin typeface="方正正准黑简体" pitchFamily="2" charset="-122"/>
                <a:ea typeface="方正正准黑简体" pitchFamily="2" charset="-122"/>
              </a:defRPr>
            </a:lvl1pPr>
          </a:lstStyle>
          <a:p>
            <a:pPr lvl="0"/>
            <a:r>
              <a:rPr lang="en-US" noProof="1"/>
              <a:t>Click to edit Master text styles</a:t>
            </a:r>
          </a:p>
        </p:txBody>
      </p:sp>
      <p:sp>
        <p:nvSpPr>
          <p:cNvPr id="2" name="标题 1"/>
          <p:cNvSpPr>
            <a:spLocks noGrp="1"/>
          </p:cNvSpPr>
          <p:nvPr>
            <p:ph type="title"/>
          </p:nvPr>
        </p:nvSpPr>
        <p:spPr>
          <a:xfrm>
            <a:off x="1056220" y="2994664"/>
            <a:ext cx="10079567" cy="1194436"/>
          </a:xfrm>
        </p:spPr>
        <p:txBody>
          <a:bodyPr/>
          <a:lstStyle>
            <a:lvl1pPr algn="l">
              <a:defRPr>
                <a:latin typeface="方正正准黑简体" pitchFamily="2" charset="-122"/>
                <a:ea typeface="方正正准黑简体" pitchFamily="2" charset="-122"/>
              </a:defRPr>
            </a:lvl1pPr>
          </a:lstStyle>
          <a:p>
            <a:r>
              <a:rPr lang="zh-CN" altLang="en-US" noProof="1"/>
              <a:t>单击此处编辑母版标题样式</a:t>
            </a:r>
          </a:p>
        </p:txBody>
      </p:sp>
      <p:sp>
        <p:nvSpPr>
          <p:cNvPr id="4" name="日期占位符 3"/>
          <p:cNvSpPr>
            <a:spLocks noGrp="1"/>
          </p:cNvSpPr>
          <p:nvPr>
            <p:ph type="dt" sz="half" idx="13"/>
          </p:nvPr>
        </p:nvSpPr>
        <p:spPr/>
        <p:txBody>
          <a:bodyPr/>
          <a:lstStyle>
            <a:lvl1pPr>
              <a:defRPr/>
            </a:lvl1pPr>
          </a:lstStyle>
          <a:p>
            <a:pPr>
              <a:defRPr/>
            </a:pPr>
            <a:fld id="{E4A666F1-FF06-4A7F-A662-70218D6BE960}" type="datetimeFigureOut">
              <a:rPr lang="zh-CN" altLang="en-US"/>
              <a:pPr>
                <a:defRPr/>
              </a:pPr>
              <a:t>2018-12-06</a:t>
            </a:fld>
            <a:endParaRPr lang="zh-CN" altLang="en-US"/>
          </a:p>
        </p:txBody>
      </p:sp>
      <p:sp>
        <p:nvSpPr>
          <p:cNvPr id="5" name="页脚占位符 4"/>
          <p:cNvSpPr>
            <a:spLocks noGrp="1"/>
          </p:cNvSpPr>
          <p:nvPr>
            <p:ph type="ftr" sz="quarter" idx="14"/>
          </p:nvPr>
        </p:nvSpPr>
        <p:spPr/>
        <p:txBody>
          <a:bodyPr/>
          <a:lstStyle>
            <a:lvl1pPr>
              <a:defRPr/>
            </a:lvl1pPr>
          </a:lstStyle>
          <a:p>
            <a:pPr>
              <a:defRPr/>
            </a:pPr>
            <a:endParaRPr lang="zh-CN" altLang="en-US"/>
          </a:p>
        </p:txBody>
      </p:sp>
      <p:sp>
        <p:nvSpPr>
          <p:cNvPr id="7" name="灯片编号占位符 5"/>
          <p:cNvSpPr>
            <a:spLocks noGrp="1"/>
          </p:cNvSpPr>
          <p:nvPr>
            <p:ph type="sldNum" sz="quarter" idx="15"/>
          </p:nvPr>
        </p:nvSpPr>
        <p:spPr/>
        <p:txBody>
          <a:bodyPr/>
          <a:lstStyle>
            <a:lvl1pPr>
              <a:defRPr/>
            </a:lvl1pPr>
          </a:lstStyle>
          <a:p>
            <a:fld id="{6B215F09-FF97-42F1-B95B-978F6CCD104A}" type="slidenum">
              <a:rPr lang="zh-CN" altLang="en-US"/>
              <a:pPr/>
              <a:t>‹#›</a:t>
            </a:fld>
            <a:endParaRPr lang="zh-CN" altLang="en-US"/>
          </a:p>
        </p:txBody>
      </p:sp>
    </p:spTree>
    <p:extLst>
      <p:ext uri="{BB962C8B-B14F-4D97-AF65-F5344CB8AC3E}">
        <p14:creationId xmlns:p14="http://schemas.microsoft.com/office/powerpoint/2010/main" val="1072829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chart" preserve="1">
  <p:cSld name="标题和图表">
    <p:spTree>
      <p:nvGrpSpPr>
        <p:cNvPr id="1" name=""/>
        <p:cNvGrpSpPr/>
        <p:nvPr/>
      </p:nvGrpSpPr>
      <p:grpSpPr>
        <a:xfrm>
          <a:off x="0" y="0"/>
          <a:ext cx="0" cy="0"/>
          <a:chOff x="0" y="0"/>
          <a:chExt cx="0" cy="0"/>
        </a:xfrm>
      </p:grpSpPr>
      <p:sp>
        <p:nvSpPr>
          <p:cNvPr id="2" name="标题 1"/>
          <p:cNvSpPr>
            <a:spLocks noGrp="1"/>
          </p:cNvSpPr>
          <p:nvPr>
            <p:ph type="title"/>
          </p:nvPr>
        </p:nvSpPr>
        <p:spPr>
          <a:xfrm>
            <a:off x="508000" y="0"/>
            <a:ext cx="5588000" cy="563563"/>
          </a:xfrm>
        </p:spPr>
        <p:txBody>
          <a:bodyPr/>
          <a:lstStyle/>
          <a:p>
            <a:r>
              <a:rPr lang="zh-CN" altLang="en-US" noProof="1"/>
              <a:t>单击此处编辑母版标题样式</a:t>
            </a:r>
          </a:p>
        </p:txBody>
      </p:sp>
      <p:sp>
        <p:nvSpPr>
          <p:cNvPr id="3" name="图表占位符 2"/>
          <p:cNvSpPr>
            <a:spLocks noGrp="1"/>
          </p:cNvSpPr>
          <p:nvPr>
            <p:ph type="chart" idx="1"/>
          </p:nvPr>
        </p:nvSpPr>
        <p:spPr>
          <a:xfrm>
            <a:off x="609600" y="762000"/>
            <a:ext cx="10972800" cy="5410200"/>
          </a:xfrm>
        </p:spPr>
        <p:txBody>
          <a:bodyPr/>
          <a:lstStyle/>
          <a:p>
            <a:pPr lvl="0"/>
            <a:endParaRPr lang="zh-CN" altLang="en-US" noProof="0"/>
          </a:p>
        </p:txBody>
      </p:sp>
      <p:sp>
        <p:nvSpPr>
          <p:cNvPr id="4" name="灯片编号占位符 3"/>
          <p:cNvSpPr>
            <a:spLocks noGrp="1"/>
          </p:cNvSpPr>
          <p:nvPr>
            <p:ph type="sldNum" sz="quarter" idx="10"/>
          </p:nvPr>
        </p:nvSpPr>
        <p:spPr/>
        <p:txBody>
          <a:bodyPr/>
          <a:lstStyle>
            <a:lvl1pPr algn="l">
              <a:defRPr sz="1800">
                <a:solidFill>
                  <a:schemeClr val="tx1"/>
                </a:solidFill>
              </a:defRPr>
            </a:lvl1pPr>
          </a:lstStyle>
          <a:p>
            <a:r>
              <a:rPr lang="en-US" altLang="zh-CN"/>
              <a:t>7-</a:t>
            </a:r>
            <a:fld id="{50EDF58B-3681-47D1-A95E-95EB1A432C69}" type="slidenum">
              <a:rPr lang="en-US" altLang="zh-CN">
                <a:latin typeface="楷体" pitchFamily="49" charset="-122"/>
                <a:ea typeface="楷体" pitchFamily="49" charset="-122"/>
              </a:rPr>
              <a:pPr/>
              <a:t>‹#›</a:t>
            </a:fld>
            <a:endParaRPr lang="en-US" altLang="zh-CN">
              <a:latin typeface="楷体" pitchFamily="49" charset="-122"/>
              <a:ea typeface="楷体" pitchFamily="49" charset="-122"/>
            </a:endParaRPr>
          </a:p>
        </p:txBody>
      </p:sp>
      <p:sp>
        <p:nvSpPr>
          <p:cNvPr id="5" name="日期占位符 4"/>
          <p:cNvSpPr>
            <a:spLocks noGrp="1"/>
          </p:cNvSpPr>
          <p:nvPr>
            <p:ph type="dt" sz="half" idx="11"/>
          </p:nvPr>
        </p:nvSpPr>
        <p:spPr/>
        <p:txBody>
          <a:bodyPr/>
          <a:lstStyle>
            <a:lvl1pPr fontAlgn="base">
              <a:spcBef>
                <a:spcPct val="0"/>
              </a:spcBef>
              <a:spcAft>
                <a:spcPct val="0"/>
              </a:spcAft>
              <a:defRPr sz="1400">
                <a:solidFill>
                  <a:schemeClr val="tx1"/>
                </a:solidFill>
                <a:effectLst>
                  <a:outerShdw blurRad="38100" dist="38100" dir="2700000" algn="tl">
                    <a:srgbClr val="C0C0C0"/>
                  </a:outerShdw>
                </a:effectLst>
                <a:latin typeface="楷体" panose="02010609060101010101" pitchFamily="49" charset="-122"/>
                <a:ea typeface="楷体" panose="02010609060101010101" pitchFamily="49" charset="-122"/>
              </a:defRPr>
            </a:lvl1pPr>
          </a:lstStyle>
          <a:p>
            <a:pPr>
              <a:defRPr/>
            </a:pPr>
            <a:r>
              <a:rPr lang="en-US" altLang="zh-CN"/>
              <a:t>PMP</a:t>
            </a:r>
            <a:endParaRPr lang="zh-CN" altLang="en-US"/>
          </a:p>
        </p:txBody>
      </p:sp>
    </p:spTree>
    <p:extLst>
      <p:ext uri="{BB962C8B-B14F-4D97-AF65-F5344CB8AC3E}">
        <p14:creationId xmlns:p14="http://schemas.microsoft.com/office/powerpoint/2010/main" val="8047380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dgm" preserve="1">
  <p:cSld name="标题和图示或组织结构图">
    <p:spTree>
      <p:nvGrpSpPr>
        <p:cNvPr id="1" name=""/>
        <p:cNvGrpSpPr/>
        <p:nvPr/>
      </p:nvGrpSpPr>
      <p:grpSpPr>
        <a:xfrm>
          <a:off x="0" y="0"/>
          <a:ext cx="0" cy="0"/>
          <a:chOff x="0" y="0"/>
          <a:chExt cx="0" cy="0"/>
        </a:xfrm>
      </p:grpSpPr>
      <p:sp>
        <p:nvSpPr>
          <p:cNvPr id="2" name="标题 1"/>
          <p:cNvSpPr>
            <a:spLocks noGrp="1"/>
          </p:cNvSpPr>
          <p:nvPr>
            <p:ph type="title"/>
          </p:nvPr>
        </p:nvSpPr>
        <p:spPr>
          <a:xfrm>
            <a:off x="508000" y="0"/>
            <a:ext cx="5588000" cy="563563"/>
          </a:xfrm>
        </p:spPr>
        <p:txBody>
          <a:bodyPr/>
          <a:lstStyle/>
          <a:p>
            <a:r>
              <a:rPr lang="zh-CN" altLang="en-US" noProof="1"/>
              <a:t>单击此处编辑母版标题样式</a:t>
            </a:r>
          </a:p>
        </p:txBody>
      </p:sp>
      <p:sp>
        <p:nvSpPr>
          <p:cNvPr id="3" name="SmartArt 占位符 2"/>
          <p:cNvSpPr>
            <a:spLocks noGrp="1"/>
          </p:cNvSpPr>
          <p:nvPr>
            <p:ph type="pic" idx="1"/>
          </p:nvPr>
        </p:nvSpPr>
        <p:spPr>
          <a:xfrm>
            <a:off x="609600" y="762000"/>
            <a:ext cx="10972800" cy="5410200"/>
          </a:xfrm>
        </p:spPr>
        <p:txBody>
          <a:bodyPr/>
          <a:lstStyle/>
          <a:p>
            <a:pPr lvl="0"/>
            <a:endParaRPr lang="zh-CN" altLang="en-US" noProof="0"/>
          </a:p>
        </p:txBody>
      </p:sp>
      <p:sp>
        <p:nvSpPr>
          <p:cNvPr id="4" name="灯片编号占位符 3"/>
          <p:cNvSpPr>
            <a:spLocks noGrp="1"/>
          </p:cNvSpPr>
          <p:nvPr>
            <p:ph type="sldNum" sz="quarter" idx="10"/>
          </p:nvPr>
        </p:nvSpPr>
        <p:spPr/>
        <p:txBody>
          <a:bodyPr/>
          <a:lstStyle>
            <a:lvl1pPr algn="l">
              <a:defRPr sz="1800">
                <a:solidFill>
                  <a:schemeClr val="tx1"/>
                </a:solidFill>
              </a:defRPr>
            </a:lvl1pPr>
          </a:lstStyle>
          <a:p>
            <a:r>
              <a:rPr lang="en-US" altLang="zh-CN"/>
              <a:t>10-</a:t>
            </a:r>
            <a:fld id="{3B4C8EFF-7D8D-4EF1-BD88-42DC862A681E}" type="slidenum">
              <a:rPr lang="en-US" altLang="zh-CN">
                <a:latin typeface="楷体" pitchFamily="49" charset="-122"/>
                <a:ea typeface="楷体" pitchFamily="49" charset="-122"/>
              </a:rPr>
              <a:pPr/>
              <a:t>‹#›</a:t>
            </a:fld>
            <a:endParaRPr lang="en-US" altLang="zh-CN">
              <a:latin typeface="楷体" pitchFamily="49" charset="-122"/>
              <a:ea typeface="楷体" pitchFamily="49" charset="-122"/>
            </a:endParaRPr>
          </a:p>
        </p:txBody>
      </p:sp>
      <p:sp>
        <p:nvSpPr>
          <p:cNvPr id="5" name="日期占位符 4"/>
          <p:cNvSpPr>
            <a:spLocks noGrp="1"/>
          </p:cNvSpPr>
          <p:nvPr>
            <p:ph type="dt" sz="half" idx="11"/>
          </p:nvPr>
        </p:nvSpPr>
        <p:spPr/>
        <p:txBody>
          <a:bodyPr/>
          <a:lstStyle>
            <a:lvl1pPr fontAlgn="base">
              <a:spcBef>
                <a:spcPct val="0"/>
              </a:spcBef>
              <a:spcAft>
                <a:spcPct val="0"/>
              </a:spcAft>
              <a:defRPr sz="1400">
                <a:solidFill>
                  <a:schemeClr val="tx1"/>
                </a:solidFill>
                <a:effectLst>
                  <a:outerShdw blurRad="38100" dist="38100" dir="2700000" algn="tl">
                    <a:srgbClr val="C0C0C0"/>
                  </a:outerShdw>
                </a:effectLst>
                <a:latin typeface="楷体" panose="02010609060101010101" pitchFamily="49" charset="-122"/>
                <a:ea typeface="楷体" panose="02010609060101010101" pitchFamily="49" charset="-122"/>
              </a:defRPr>
            </a:lvl1pPr>
          </a:lstStyle>
          <a:p>
            <a:pPr>
              <a:defRPr/>
            </a:pPr>
            <a:r>
              <a:rPr lang="en-US" altLang="zh-CN"/>
              <a:t>PMP</a:t>
            </a:r>
            <a:endParaRPr lang="zh-CN" altLang="en-US" dirty="0"/>
          </a:p>
        </p:txBody>
      </p:sp>
      <p:sp>
        <p:nvSpPr>
          <p:cNvPr id="6" name="页脚占位符 5"/>
          <p:cNvSpPr>
            <a:spLocks noGrp="1"/>
          </p:cNvSpPr>
          <p:nvPr>
            <p:ph type="ftr" sz="quarter" idx="12"/>
          </p:nvPr>
        </p:nvSpPr>
        <p:spPr/>
        <p:txBody>
          <a:bodyPr/>
          <a:lstStyle>
            <a:lvl1pPr>
              <a:defRPr/>
            </a:lvl1pPr>
          </a:lstStyle>
          <a:p>
            <a:pPr>
              <a:defRPr/>
            </a:pPr>
            <a:endParaRPr lang="zh-CN" altLang="en-US"/>
          </a:p>
        </p:txBody>
      </p:sp>
    </p:spTree>
    <p:extLst>
      <p:ext uri="{BB962C8B-B14F-4D97-AF65-F5344CB8AC3E}">
        <p14:creationId xmlns:p14="http://schemas.microsoft.com/office/powerpoint/2010/main" val="36833094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OverObj" preserve="1">
  <p:cSld name="标题和文本在内容之上">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noProof="1"/>
              <a:t>单击此处编辑母版标题样式</a:t>
            </a:r>
          </a:p>
        </p:txBody>
      </p:sp>
      <p:sp>
        <p:nvSpPr>
          <p:cNvPr id="3" name="文本占位符 2"/>
          <p:cNvSpPr>
            <a:spLocks noGrp="1"/>
          </p:cNvSpPr>
          <p:nvPr>
            <p:ph type="body" sz="half" idx="1"/>
          </p:nvPr>
        </p:nvSpPr>
        <p:spPr>
          <a:xfrm>
            <a:off x="838200" y="1825625"/>
            <a:ext cx="10515600" cy="2098675"/>
          </a:xfrm>
        </p:spPr>
        <p:txBody>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4" name="内容占位符 3"/>
          <p:cNvSpPr>
            <a:spLocks noGrp="1"/>
          </p:cNvSpPr>
          <p:nvPr>
            <p:ph sz="half" idx="2"/>
          </p:nvPr>
        </p:nvSpPr>
        <p:spPr>
          <a:xfrm>
            <a:off x="838200" y="4076700"/>
            <a:ext cx="10515600" cy="2100263"/>
          </a:xfrm>
        </p:spPr>
        <p:txBody>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5" name="日期占位符 3"/>
          <p:cNvSpPr>
            <a:spLocks noGrp="1"/>
          </p:cNvSpPr>
          <p:nvPr>
            <p:ph type="dt" sz="half" idx="10"/>
          </p:nvPr>
        </p:nvSpPr>
        <p:spPr/>
        <p:txBody>
          <a:bodyPr/>
          <a:lstStyle>
            <a:lvl1pPr>
              <a:defRPr/>
            </a:lvl1pPr>
          </a:lstStyle>
          <a:p>
            <a:pPr>
              <a:defRPr/>
            </a:pPr>
            <a:fld id="{E4A666F1-FF06-4A7F-A662-70218D6BE960}" type="datetimeFigureOut">
              <a:rPr lang="zh-CN" altLang="en-US"/>
              <a:pPr>
                <a:defRPr/>
              </a:pPr>
              <a:t>2018-12-06</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fld id="{46442715-08F1-42FE-9B48-31EBEC07E960}" type="slidenum">
              <a:rPr lang="zh-CN" altLang="en-US"/>
              <a:pPr/>
              <a:t>‹#›</a:t>
            </a:fld>
            <a:endParaRPr lang="zh-CN" altLang="en-US"/>
          </a:p>
        </p:txBody>
      </p:sp>
    </p:spTree>
    <p:extLst>
      <p:ext uri="{BB962C8B-B14F-4D97-AF65-F5344CB8AC3E}">
        <p14:creationId xmlns:p14="http://schemas.microsoft.com/office/powerpoint/2010/main" val="42903038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lang="zh-CN" altLang="en-US" sz="2700" b="1" kern="1200" noProof="1">
                <a:solidFill>
                  <a:srgbClr val="0070C0"/>
                </a:solidFill>
                <a:latin typeface="Georgia" panose="02040502050405020303" pitchFamily="18" charset="0"/>
                <a:ea typeface="+mj-ea"/>
                <a:cs typeface="+mj-cs"/>
              </a:defRPr>
            </a:lvl1pPr>
          </a:lstStyle>
          <a:p>
            <a:r>
              <a:rPr lang="zh-CN" altLang="en-US" noProof="1"/>
              <a:t>单击此处编辑母版标题样式</a:t>
            </a:r>
          </a:p>
        </p:txBody>
      </p:sp>
      <p:sp>
        <p:nvSpPr>
          <p:cNvPr id="3" name="内容占位符 2"/>
          <p:cNvSpPr>
            <a:spLocks noGrp="1"/>
          </p:cNvSpPr>
          <p:nvPr>
            <p:ph idx="1"/>
          </p:nvPr>
        </p:nvSpPr>
        <p:spPr/>
        <p:txBody>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4" name="日期占位符 3"/>
          <p:cNvSpPr>
            <a:spLocks noGrp="1"/>
          </p:cNvSpPr>
          <p:nvPr>
            <p:ph type="dt" sz="half" idx="10"/>
          </p:nvPr>
        </p:nvSpPr>
        <p:spPr/>
        <p:txBody>
          <a:bodyPr/>
          <a:lstStyle>
            <a:lvl1pPr>
              <a:defRPr/>
            </a:lvl1pPr>
          </a:lstStyle>
          <a:p>
            <a:pPr>
              <a:defRPr/>
            </a:pPr>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fld id="{DA625246-D887-4B98-9FCF-EDB2D7F33394}" type="slidenum">
              <a:rPr lang="zh-CN" altLang="en-US"/>
              <a:pPr/>
              <a:t>‹#›</a:t>
            </a:fld>
            <a:endParaRPr lang="zh-CN" altLang="en-US"/>
          </a:p>
        </p:txBody>
      </p:sp>
    </p:spTree>
    <p:extLst>
      <p:ext uri="{BB962C8B-B14F-4D97-AF65-F5344CB8AC3E}">
        <p14:creationId xmlns:p14="http://schemas.microsoft.com/office/powerpoint/2010/main" val="16797272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noProof="1"/>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noProof="1"/>
              <a:t>单击此处编辑母版文本样式</a:t>
            </a:r>
          </a:p>
        </p:txBody>
      </p:sp>
      <p:sp>
        <p:nvSpPr>
          <p:cNvPr id="4" name="日期占位符 3"/>
          <p:cNvSpPr>
            <a:spLocks noGrp="1"/>
          </p:cNvSpPr>
          <p:nvPr>
            <p:ph type="dt" sz="half" idx="10"/>
          </p:nvPr>
        </p:nvSpPr>
        <p:spPr/>
        <p:txBody>
          <a:bodyPr/>
          <a:lstStyle>
            <a:lvl1pPr>
              <a:defRPr/>
            </a:lvl1pPr>
          </a:lstStyle>
          <a:p>
            <a:pPr>
              <a:defRPr/>
            </a:pPr>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fld id="{6203A43F-389A-4702-8598-BF196C4FFEB8}" type="slidenum">
              <a:rPr lang="zh-CN" altLang="en-US"/>
              <a:pPr/>
              <a:t>‹#›</a:t>
            </a:fld>
            <a:endParaRPr lang="zh-CN" altLang="en-US"/>
          </a:p>
        </p:txBody>
      </p:sp>
    </p:spTree>
    <p:extLst>
      <p:ext uri="{BB962C8B-B14F-4D97-AF65-F5344CB8AC3E}">
        <p14:creationId xmlns:p14="http://schemas.microsoft.com/office/powerpoint/2010/main" val="10106809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noProof="1"/>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5" name="日期占位符 4"/>
          <p:cNvSpPr>
            <a:spLocks noGrp="1"/>
          </p:cNvSpPr>
          <p:nvPr>
            <p:ph type="dt" sz="half" idx="10"/>
          </p:nvPr>
        </p:nvSpPr>
        <p:spPr/>
        <p:txBody>
          <a:bodyPr/>
          <a:lstStyle>
            <a:lvl1pPr>
              <a:defRPr/>
            </a:lvl1pPr>
          </a:lstStyle>
          <a:p>
            <a:pPr>
              <a:defRPr/>
            </a:pPr>
            <a:endParaRPr lang="zh-CN" altLang="en-US"/>
          </a:p>
        </p:txBody>
      </p:sp>
      <p:sp>
        <p:nvSpPr>
          <p:cNvPr id="6" name="页脚占位符 5"/>
          <p:cNvSpPr>
            <a:spLocks noGrp="1"/>
          </p:cNvSpPr>
          <p:nvPr>
            <p:ph type="ftr" sz="quarter" idx="11"/>
          </p:nvPr>
        </p:nvSpPr>
        <p:spPr/>
        <p:txBody>
          <a:bodyPr/>
          <a:lstStyle>
            <a:lvl1pPr>
              <a:defRPr/>
            </a:lvl1pPr>
          </a:lstStyle>
          <a:p>
            <a:pPr>
              <a:defRPr/>
            </a:pPr>
            <a:endParaRPr lang="zh-CN" altLang="en-US"/>
          </a:p>
        </p:txBody>
      </p:sp>
      <p:sp>
        <p:nvSpPr>
          <p:cNvPr id="7" name="灯片编号占位符 6"/>
          <p:cNvSpPr>
            <a:spLocks noGrp="1"/>
          </p:cNvSpPr>
          <p:nvPr>
            <p:ph type="sldNum" sz="quarter" idx="12"/>
          </p:nvPr>
        </p:nvSpPr>
        <p:spPr/>
        <p:txBody>
          <a:bodyPr/>
          <a:lstStyle>
            <a:lvl1pPr>
              <a:defRPr/>
            </a:lvl1pPr>
          </a:lstStyle>
          <a:p>
            <a:fld id="{80634122-77C8-4116-8391-DA8FCE7C61EC}" type="slidenum">
              <a:rPr lang="zh-CN" altLang="en-US"/>
              <a:pPr/>
              <a:t>‹#›</a:t>
            </a:fld>
            <a:endParaRPr lang="zh-CN" altLang="en-US"/>
          </a:p>
        </p:txBody>
      </p:sp>
    </p:spTree>
    <p:extLst>
      <p:ext uri="{BB962C8B-B14F-4D97-AF65-F5344CB8AC3E}">
        <p14:creationId xmlns:p14="http://schemas.microsoft.com/office/powerpoint/2010/main" val="20310209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noProof="1"/>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noProof="1"/>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noProof="1"/>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7" name="日期占位符 6"/>
          <p:cNvSpPr>
            <a:spLocks noGrp="1"/>
          </p:cNvSpPr>
          <p:nvPr>
            <p:ph type="dt" sz="half" idx="10"/>
          </p:nvPr>
        </p:nvSpPr>
        <p:spPr/>
        <p:txBody>
          <a:bodyPr/>
          <a:lstStyle>
            <a:lvl1pPr>
              <a:defRPr/>
            </a:lvl1pPr>
          </a:lstStyle>
          <a:p>
            <a:pPr>
              <a:defRPr/>
            </a:pPr>
            <a:endParaRPr lang="zh-CN" altLang="en-US"/>
          </a:p>
        </p:txBody>
      </p:sp>
      <p:sp>
        <p:nvSpPr>
          <p:cNvPr id="8" name="页脚占位符 7"/>
          <p:cNvSpPr>
            <a:spLocks noGrp="1"/>
          </p:cNvSpPr>
          <p:nvPr>
            <p:ph type="ftr" sz="quarter" idx="11"/>
          </p:nvPr>
        </p:nvSpPr>
        <p:spPr/>
        <p:txBody>
          <a:bodyPr/>
          <a:lstStyle>
            <a:lvl1pPr>
              <a:defRPr/>
            </a:lvl1pPr>
          </a:lstStyle>
          <a:p>
            <a:pPr>
              <a:defRPr/>
            </a:pPr>
            <a:endParaRPr lang="zh-CN" altLang="en-US"/>
          </a:p>
        </p:txBody>
      </p:sp>
      <p:sp>
        <p:nvSpPr>
          <p:cNvPr id="9" name="灯片编号占位符 8"/>
          <p:cNvSpPr>
            <a:spLocks noGrp="1"/>
          </p:cNvSpPr>
          <p:nvPr>
            <p:ph type="sldNum" sz="quarter" idx="12"/>
          </p:nvPr>
        </p:nvSpPr>
        <p:spPr/>
        <p:txBody>
          <a:bodyPr/>
          <a:lstStyle>
            <a:lvl1pPr>
              <a:defRPr/>
            </a:lvl1pPr>
          </a:lstStyle>
          <a:p>
            <a:fld id="{02BB66DF-C5EF-41AE-9D48-6B66B082BE22}" type="slidenum">
              <a:rPr lang="zh-CN" altLang="en-US"/>
              <a:pPr/>
              <a:t>‹#›</a:t>
            </a:fld>
            <a:endParaRPr lang="zh-CN" altLang="en-US"/>
          </a:p>
        </p:txBody>
      </p:sp>
    </p:spTree>
    <p:extLst>
      <p:ext uri="{BB962C8B-B14F-4D97-AF65-F5344CB8AC3E}">
        <p14:creationId xmlns:p14="http://schemas.microsoft.com/office/powerpoint/2010/main" val="21134954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pic>
        <p:nvPicPr>
          <p:cNvPr id="2" name="Picture 10" descr="pasted-image.pd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648200" y="3417888"/>
            <a:ext cx="2895600" cy="58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3" name="文本框 6"/>
          <p:cNvSpPr txBox="1">
            <a:spLocks noChangeArrowheads="1"/>
          </p:cNvSpPr>
          <p:nvPr/>
        </p:nvSpPr>
        <p:spPr bwMode="auto">
          <a:xfrm>
            <a:off x="3925888" y="2374900"/>
            <a:ext cx="434022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w Cen MT" panose="020B0602020104020603" pitchFamily="34" charset="0"/>
                <a:ea typeface="微软雅黑" panose="020B0503020204020204" pitchFamily="34" charset="-122"/>
              </a:defRPr>
            </a:lvl1pPr>
            <a:lvl2pPr>
              <a:defRPr>
                <a:solidFill>
                  <a:schemeClr val="tx1"/>
                </a:solidFill>
                <a:latin typeface="Tw Cen MT" panose="020B0602020104020603" pitchFamily="34" charset="0"/>
                <a:ea typeface="微软雅黑" panose="020B0503020204020204" pitchFamily="34" charset="-122"/>
              </a:defRPr>
            </a:lvl2pPr>
            <a:lvl3pPr>
              <a:defRPr>
                <a:solidFill>
                  <a:schemeClr val="tx1"/>
                </a:solidFill>
                <a:latin typeface="Tw Cen MT" panose="020B0602020104020603" pitchFamily="34" charset="0"/>
                <a:ea typeface="微软雅黑" panose="020B0503020204020204" pitchFamily="34" charset="-122"/>
              </a:defRPr>
            </a:lvl3pPr>
            <a:lvl4pPr>
              <a:defRPr>
                <a:solidFill>
                  <a:schemeClr val="tx1"/>
                </a:solidFill>
                <a:latin typeface="Tw Cen MT" panose="020B0602020104020603" pitchFamily="34" charset="0"/>
                <a:ea typeface="微软雅黑" panose="020B0503020204020204" pitchFamily="34" charset="-122"/>
              </a:defRPr>
            </a:lvl4pPr>
            <a:lvl5pPr>
              <a:defRPr>
                <a:solidFill>
                  <a:schemeClr val="tx1"/>
                </a:solidFill>
                <a:latin typeface="Tw Cen MT" panose="020B0602020104020603" pitchFamily="34" charset="0"/>
                <a:ea typeface="微软雅黑" panose="020B0503020204020204" pitchFamily="34" charset="-122"/>
              </a:defRPr>
            </a:lvl5pPr>
            <a:lvl6pPr fontAlgn="base">
              <a:spcBef>
                <a:spcPct val="0"/>
              </a:spcBef>
              <a:spcAft>
                <a:spcPct val="0"/>
              </a:spcAft>
              <a:buFont typeface="Arial" panose="020B0604020202020204" pitchFamily="34" charset="0"/>
              <a:defRPr>
                <a:solidFill>
                  <a:schemeClr val="tx1"/>
                </a:solidFill>
                <a:latin typeface="Tw Cen MT" panose="020B0602020104020603" pitchFamily="34" charset="0"/>
                <a:ea typeface="微软雅黑" panose="020B0503020204020204" pitchFamily="34" charset="-122"/>
              </a:defRPr>
            </a:lvl6pPr>
            <a:lvl7pPr fontAlgn="base">
              <a:spcBef>
                <a:spcPct val="0"/>
              </a:spcBef>
              <a:spcAft>
                <a:spcPct val="0"/>
              </a:spcAft>
              <a:buFont typeface="Arial" panose="020B0604020202020204" pitchFamily="34" charset="0"/>
              <a:defRPr>
                <a:solidFill>
                  <a:schemeClr val="tx1"/>
                </a:solidFill>
                <a:latin typeface="Tw Cen MT" panose="020B0602020104020603" pitchFamily="34" charset="0"/>
                <a:ea typeface="微软雅黑" panose="020B0503020204020204" pitchFamily="34" charset="-122"/>
              </a:defRPr>
            </a:lvl7pPr>
            <a:lvl8pPr fontAlgn="base">
              <a:spcBef>
                <a:spcPct val="0"/>
              </a:spcBef>
              <a:spcAft>
                <a:spcPct val="0"/>
              </a:spcAft>
              <a:buFont typeface="Arial" panose="020B0604020202020204" pitchFamily="34" charset="0"/>
              <a:defRPr>
                <a:solidFill>
                  <a:schemeClr val="tx1"/>
                </a:solidFill>
                <a:latin typeface="Tw Cen MT" panose="020B0602020104020603" pitchFamily="34" charset="0"/>
                <a:ea typeface="微软雅黑" panose="020B0503020204020204" pitchFamily="34" charset="-122"/>
              </a:defRPr>
            </a:lvl8pPr>
            <a:lvl9pPr fontAlgn="base">
              <a:spcBef>
                <a:spcPct val="0"/>
              </a:spcBef>
              <a:spcAft>
                <a:spcPct val="0"/>
              </a:spcAft>
              <a:buFont typeface="Arial" panose="020B0604020202020204" pitchFamily="34" charset="0"/>
              <a:defRPr>
                <a:solidFill>
                  <a:schemeClr val="tx1"/>
                </a:solidFill>
                <a:latin typeface="Tw Cen MT" panose="020B0602020104020603" pitchFamily="34" charset="0"/>
                <a:ea typeface="微软雅黑" panose="020B0503020204020204" pitchFamily="34" charset="-122"/>
              </a:defRPr>
            </a:lvl9pPr>
          </a:lstStyle>
          <a:p>
            <a:pPr>
              <a:defRPr/>
            </a:pPr>
            <a:r>
              <a:rPr lang="zh-CN" altLang="en-US" sz="5400"/>
              <a:t>技术成就梦想</a:t>
            </a:r>
          </a:p>
        </p:txBody>
      </p:sp>
      <p:sp>
        <p:nvSpPr>
          <p:cNvPr id="4" name="日期占位符 1"/>
          <p:cNvSpPr>
            <a:spLocks noGrp="1"/>
          </p:cNvSpPr>
          <p:nvPr>
            <p:ph type="dt" sz="half" idx="10"/>
          </p:nvPr>
        </p:nvSpPr>
        <p:spPr/>
        <p:txBody>
          <a:bodyPr/>
          <a:lstStyle>
            <a:lvl1pPr>
              <a:defRPr/>
            </a:lvl1pPr>
          </a:lstStyle>
          <a:p>
            <a:pPr>
              <a:defRPr/>
            </a:pPr>
            <a:endParaRPr lang="zh-CN" altLang="en-US"/>
          </a:p>
        </p:txBody>
      </p:sp>
      <p:sp>
        <p:nvSpPr>
          <p:cNvPr id="5" name="页脚占位符 2"/>
          <p:cNvSpPr>
            <a:spLocks noGrp="1"/>
          </p:cNvSpPr>
          <p:nvPr>
            <p:ph type="ftr" sz="quarter" idx="11"/>
          </p:nvPr>
        </p:nvSpPr>
        <p:spPr/>
        <p:txBody>
          <a:bodyPr/>
          <a:lstStyle>
            <a:lvl1pPr>
              <a:defRPr/>
            </a:lvl1pPr>
          </a:lstStyle>
          <a:p>
            <a:pPr>
              <a:defRPr/>
            </a:pPr>
            <a:endParaRPr lang="zh-CN" altLang="en-US"/>
          </a:p>
        </p:txBody>
      </p:sp>
      <p:sp>
        <p:nvSpPr>
          <p:cNvPr id="6" name="灯片编号占位符 3"/>
          <p:cNvSpPr>
            <a:spLocks noGrp="1"/>
          </p:cNvSpPr>
          <p:nvPr>
            <p:ph type="sldNum" sz="quarter" idx="12"/>
          </p:nvPr>
        </p:nvSpPr>
        <p:spPr/>
        <p:txBody>
          <a:bodyPr/>
          <a:lstStyle>
            <a:lvl1pPr>
              <a:defRPr/>
            </a:lvl1pPr>
          </a:lstStyle>
          <a:p>
            <a:fld id="{30D5AEF5-7665-44DC-AE86-AF11029D1C35}" type="slidenum">
              <a:rPr lang="zh-CN" altLang="en-US"/>
              <a:pPr/>
              <a:t>‹#›</a:t>
            </a:fld>
            <a:endParaRPr lang="zh-CN" altLang="en-US"/>
          </a:p>
        </p:txBody>
      </p:sp>
    </p:spTree>
    <p:extLst>
      <p:ext uri="{BB962C8B-B14F-4D97-AF65-F5344CB8AC3E}">
        <p14:creationId xmlns:p14="http://schemas.microsoft.com/office/powerpoint/2010/main" val="35617917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5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609600" y="1076325"/>
            <a:ext cx="10972800" cy="5248275"/>
          </a:xfrm>
          <a:prstGeom prst="rect">
            <a:avLst/>
          </a:prstGeom>
        </p:spPr>
        <p:txBody>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endParaRPr lang="en-US" noProof="1"/>
          </a:p>
        </p:txBody>
      </p:sp>
      <p:sp>
        <p:nvSpPr>
          <p:cNvPr id="4" name="日期占位符 3"/>
          <p:cNvSpPr>
            <a:spLocks noGrp="1"/>
          </p:cNvSpPr>
          <p:nvPr>
            <p:ph type="dt" sz="half" idx="10"/>
          </p:nvPr>
        </p:nvSpPr>
        <p:spPr>
          <a:xfrm>
            <a:off x="609600" y="6519863"/>
            <a:ext cx="2844800" cy="244475"/>
          </a:xfrm>
        </p:spPr>
        <p:txBody>
          <a:bodyPr/>
          <a:lstStyle>
            <a:lvl1pPr>
              <a:defRPr/>
            </a:lvl1pPr>
          </a:lstStyle>
          <a:p>
            <a:pPr>
              <a:defRPr/>
            </a:pPr>
            <a:endParaRPr lang="zh-CN" altLang="en-US"/>
          </a:p>
        </p:txBody>
      </p:sp>
      <p:sp>
        <p:nvSpPr>
          <p:cNvPr id="5" name="页脚占位符 4"/>
          <p:cNvSpPr>
            <a:spLocks noGrp="1"/>
          </p:cNvSpPr>
          <p:nvPr>
            <p:ph type="ftr" sz="quarter" idx="11"/>
          </p:nvPr>
        </p:nvSpPr>
        <p:spPr>
          <a:xfrm>
            <a:off x="6908800" y="6477000"/>
            <a:ext cx="3860800" cy="233363"/>
          </a:xfrm>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a:xfrm>
            <a:off x="8737600" y="6356350"/>
            <a:ext cx="2844800" cy="365125"/>
          </a:xfrm>
        </p:spPr>
        <p:txBody>
          <a:bodyPr/>
          <a:lstStyle>
            <a:lvl1pPr>
              <a:defRPr/>
            </a:lvl1pPr>
          </a:lstStyle>
          <a:p>
            <a:fld id="{A2B98B43-923A-4661-B62C-2589AEC2309F}" type="slidenum">
              <a:rPr lang="zh-CN" altLang="en-US"/>
              <a:pPr/>
              <a:t>‹#›</a:t>
            </a:fld>
            <a:endParaRPr lang="zh-CN" altLang="en-US"/>
          </a:p>
        </p:txBody>
      </p:sp>
    </p:spTree>
    <p:extLst>
      <p:ext uri="{BB962C8B-B14F-4D97-AF65-F5344CB8AC3E}">
        <p14:creationId xmlns:p14="http://schemas.microsoft.com/office/powerpoint/2010/main" val="35938022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bl">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1524000" y="381001"/>
            <a:ext cx="8940800" cy="563563"/>
          </a:xfrm>
          <a:prstGeom prst="rect">
            <a:avLst/>
          </a:prstGeom>
        </p:spPr>
        <p:txBody>
          <a:bodyPr/>
          <a:lstStyle/>
          <a:p>
            <a:r>
              <a:rPr lang="zh-CN" altLang="en-US" noProof="1"/>
              <a:t>单击此处编辑母版标题样式</a:t>
            </a:r>
          </a:p>
        </p:txBody>
      </p:sp>
      <p:sp>
        <p:nvSpPr>
          <p:cNvPr id="3" name="表格占位符 2"/>
          <p:cNvSpPr>
            <a:spLocks noGrp="1"/>
          </p:cNvSpPr>
          <p:nvPr>
            <p:ph type="tbl" idx="1" hasCustomPrompt="1"/>
          </p:nvPr>
        </p:nvSpPr>
        <p:spPr>
          <a:xfrm>
            <a:off x="609600" y="1076325"/>
            <a:ext cx="10972800" cy="5248275"/>
          </a:xfrm>
          <a:prstGeom prst="rect">
            <a:avLst/>
          </a:prstGeom>
        </p:spPr>
        <p:txBody>
          <a:bodyPr rtlCol="0">
            <a:normAutofit/>
          </a:bodyPr>
          <a:lstStyle/>
          <a:p>
            <a:pPr lvl="0"/>
            <a:r>
              <a:rPr lang="zh-CN" altLang="en-US" noProof="0"/>
              <a:t>单击图标添加表格</a:t>
            </a:r>
          </a:p>
        </p:txBody>
      </p:sp>
      <p:sp>
        <p:nvSpPr>
          <p:cNvPr id="4" name="灯片编号占位符 5"/>
          <p:cNvSpPr>
            <a:spLocks noGrp="1"/>
          </p:cNvSpPr>
          <p:nvPr>
            <p:ph type="sldNum" sz="quarter" idx="10"/>
          </p:nvPr>
        </p:nvSpPr>
        <p:spPr>
          <a:xfrm>
            <a:off x="11049000" y="6386513"/>
            <a:ext cx="609600" cy="228600"/>
          </a:xfrm>
        </p:spPr>
        <p:txBody>
          <a:bodyPr/>
          <a:lstStyle>
            <a:lvl1pPr>
              <a:defRPr/>
            </a:lvl1pPr>
          </a:lstStyle>
          <a:p>
            <a:fld id="{68E164D8-F013-41B5-BEB5-71CCCD8AAF98}" type="slidenum">
              <a:rPr lang="en-US" altLang="zh-CN"/>
              <a:pPr/>
              <a:t>‹#›</a:t>
            </a:fld>
            <a:endParaRPr lang="en-US" altLang="zh-CN"/>
          </a:p>
        </p:txBody>
      </p:sp>
      <p:sp>
        <p:nvSpPr>
          <p:cNvPr id="5" name="日期占位符 3"/>
          <p:cNvSpPr>
            <a:spLocks noGrp="1"/>
          </p:cNvSpPr>
          <p:nvPr>
            <p:ph type="dt" sz="half" idx="11"/>
          </p:nvPr>
        </p:nvSpPr>
        <p:spPr/>
        <p:txBody>
          <a:bodyPr/>
          <a:lstStyle>
            <a:lvl1pPr>
              <a:defRPr/>
            </a:lvl1pPr>
          </a:lstStyle>
          <a:p>
            <a:pPr>
              <a:defRPr/>
            </a:pPr>
            <a:endParaRPr lang="zh-CN" altLang="en-US"/>
          </a:p>
        </p:txBody>
      </p:sp>
      <p:sp>
        <p:nvSpPr>
          <p:cNvPr id="6" name="页脚占位符 4"/>
          <p:cNvSpPr>
            <a:spLocks noGrp="1"/>
          </p:cNvSpPr>
          <p:nvPr>
            <p:ph type="ftr" sz="quarter" idx="12"/>
          </p:nvPr>
        </p:nvSpPr>
        <p:spPr/>
        <p:txBody>
          <a:bodyPr/>
          <a:lstStyle>
            <a:lvl1pPr>
              <a:defRPr/>
            </a:lvl1pPr>
          </a:lstStyle>
          <a:p>
            <a:pPr>
              <a:defRPr/>
            </a:pPr>
            <a:endParaRPr lang="zh-CN" altLang="en-US"/>
          </a:p>
        </p:txBody>
      </p:sp>
    </p:spTree>
    <p:extLst>
      <p:ext uri="{BB962C8B-B14F-4D97-AF65-F5344CB8AC3E}">
        <p14:creationId xmlns:p14="http://schemas.microsoft.com/office/powerpoint/2010/main" val="27943918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3" name="Rectangle 3"/>
          <p:cNvSpPr>
            <a:spLocks noChangeArrowheads="1"/>
          </p:cNvSpPr>
          <p:nvPr userDrawn="1"/>
        </p:nvSpPr>
        <p:spPr bwMode="auto">
          <a:xfrm>
            <a:off x="209550" y="590550"/>
            <a:ext cx="11982450" cy="60325"/>
          </a:xfrm>
          <a:prstGeom prst="rect">
            <a:avLst/>
          </a:prstGeom>
          <a:solidFill>
            <a:srgbClr val="0070C0"/>
          </a:solidFill>
          <a:ln>
            <a:noFill/>
          </a:ln>
          <a:extLst>
            <a:ext uri="{91240B29-F687-4F45-9708-019B960494DF}">
              <a14:hiddenLine xmlns:a14="http://schemas.microsoft.com/office/drawing/2010/main" w="6350">
                <a:solidFill>
                  <a:srgbClr val="000000"/>
                </a:solidFill>
                <a:miter lim="800000"/>
                <a:headEnd/>
                <a:tailEnd/>
              </a14:hiddenLine>
            </a:ext>
          </a:extLst>
        </p:spPr>
        <p:txBody>
          <a:bodyPr lIns="71998" tIns="71998" rIns="71998" bIns="71998"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endParaRPr lang="en-GB" altLang="zh-CN" sz="2700">
              <a:solidFill>
                <a:schemeClr val="bg1"/>
              </a:solidFill>
              <a:latin typeface="微软雅黑" pitchFamily="34" charset="-122"/>
              <a:cs typeface="Arial" pitchFamily="34" charset="0"/>
            </a:endParaRPr>
          </a:p>
        </p:txBody>
      </p:sp>
      <p:sp>
        <p:nvSpPr>
          <p:cNvPr id="6" name="Text Placeholder 5"/>
          <p:cNvSpPr>
            <a:spLocks noGrp="1"/>
          </p:cNvSpPr>
          <p:nvPr>
            <p:ph type="body" sz="quarter" idx="10"/>
          </p:nvPr>
        </p:nvSpPr>
        <p:spPr>
          <a:xfrm>
            <a:off x="943904" y="215111"/>
            <a:ext cx="9760609" cy="459316"/>
          </a:xfrm>
          <a:prstGeom prst="rect">
            <a:avLst/>
          </a:prstGeom>
        </p:spPr>
        <p:txBody>
          <a:bodyPr/>
          <a:lstStyle>
            <a:lvl1pPr marL="0" indent="0">
              <a:buNone/>
              <a:defRPr sz="2400" b="1">
                <a:solidFill>
                  <a:srgbClr val="0070C0"/>
                </a:solidFill>
                <a:latin typeface="+mj-ea"/>
                <a:ea typeface="+mj-ea"/>
              </a:defRPr>
            </a:lvl1pPr>
          </a:lstStyle>
          <a:p>
            <a:pPr lvl="0"/>
            <a:r>
              <a:rPr lang="en-US" noProof="1"/>
              <a:t>Click to edit Master text styles</a:t>
            </a:r>
          </a:p>
        </p:txBody>
      </p:sp>
      <p:sp>
        <p:nvSpPr>
          <p:cNvPr id="4" name="日期占位符 1"/>
          <p:cNvSpPr>
            <a:spLocks noGrp="1"/>
          </p:cNvSpPr>
          <p:nvPr>
            <p:ph type="dt" sz="half" idx="11"/>
          </p:nvPr>
        </p:nvSpPr>
        <p:spPr/>
        <p:txBody>
          <a:bodyPr/>
          <a:lstStyle>
            <a:lvl1pPr>
              <a:defRPr/>
            </a:lvl1pPr>
          </a:lstStyle>
          <a:p>
            <a:pPr>
              <a:defRPr/>
            </a:pPr>
            <a:endParaRPr lang="zh-CN" altLang="en-US"/>
          </a:p>
        </p:txBody>
      </p:sp>
      <p:sp>
        <p:nvSpPr>
          <p:cNvPr id="5" name="页脚占位符 2"/>
          <p:cNvSpPr>
            <a:spLocks noGrp="1"/>
          </p:cNvSpPr>
          <p:nvPr>
            <p:ph type="ftr" sz="quarter" idx="12"/>
          </p:nvPr>
        </p:nvSpPr>
        <p:spPr/>
        <p:txBody>
          <a:bodyPr/>
          <a:lstStyle>
            <a:lvl1pPr>
              <a:defRPr/>
            </a:lvl1pPr>
          </a:lstStyle>
          <a:p>
            <a:pPr>
              <a:defRPr/>
            </a:pPr>
            <a:endParaRPr lang="zh-CN" altLang="en-US"/>
          </a:p>
        </p:txBody>
      </p:sp>
      <p:sp>
        <p:nvSpPr>
          <p:cNvPr id="7" name="灯片编号占位符 3"/>
          <p:cNvSpPr>
            <a:spLocks noGrp="1"/>
          </p:cNvSpPr>
          <p:nvPr>
            <p:ph type="sldNum" sz="quarter" idx="13"/>
          </p:nvPr>
        </p:nvSpPr>
        <p:spPr/>
        <p:txBody>
          <a:bodyPr/>
          <a:lstStyle>
            <a:lvl1pPr>
              <a:defRPr/>
            </a:lvl1pPr>
          </a:lstStyle>
          <a:p>
            <a:fld id="{D811E6A5-B543-4A1B-8D46-8D417D3E8439}" type="slidenum">
              <a:rPr lang="zh-CN" altLang="en-US"/>
              <a:pPr/>
              <a:t>‹#›</a:t>
            </a:fld>
            <a:endParaRPr lang="zh-CN" altLang="en-US"/>
          </a:p>
        </p:txBody>
      </p:sp>
    </p:spTree>
    <p:extLst>
      <p:ext uri="{BB962C8B-B14F-4D97-AF65-F5344CB8AC3E}">
        <p14:creationId xmlns:p14="http://schemas.microsoft.com/office/powerpoint/2010/main" val="24381406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gradFill rotWithShape="0">
          <a:gsLst>
            <a:gs pos="0">
              <a:srgbClr val="FFFFFF"/>
            </a:gs>
            <a:gs pos="50000">
              <a:srgbClr val="FBFBFB"/>
            </a:gs>
            <a:gs pos="100000">
              <a:srgbClr val="D0D0D0"/>
            </a:gs>
          </a:gsLst>
          <a:lin ang="5400000"/>
        </a:gradFill>
        <a:effectLst/>
      </p:bgPr>
    </p:bg>
    <p:spTree>
      <p:nvGrpSpPr>
        <p:cNvPr id="1" name=""/>
        <p:cNvGrpSpPr/>
        <p:nvPr/>
      </p:nvGrpSpPr>
      <p:grpSpPr>
        <a:xfrm>
          <a:off x="0" y="0"/>
          <a:ext cx="0" cy="0"/>
          <a:chOff x="0" y="0"/>
          <a:chExt cx="0" cy="0"/>
        </a:xfrm>
      </p:grpSpPr>
      <p:sp>
        <p:nvSpPr>
          <p:cNvPr id="1026" name="标题占位符 1"/>
          <p:cNvSpPr>
            <a:spLocks noGrp="1" noChangeArrowheads="1"/>
          </p:cNvSpPr>
          <p:nvPr>
            <p:ph type="title" idx="4294967295"/>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1027" name="文本占位符 2"/>
          <p:cNvSpPr>
            <a:spLocks noGrp="1" noChangeArrowheads="1"/>
          </p:cNvSpPr>
          <p:nvPr>
            <p:ph type="body" idx="4294967295"/>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fontAlgn="auto">
              <a:spcBef>
                <a:spcPts val="0"/>
              </a:spcBef>
              <a:spcAft>
                <a:spcPts val="0"/>
              </a:spcAft>
              <a:buFontTx/>
              <a:buNone/>
              <a:defRPr sz="1200">
                <a:solidFill>
                  <a:schemeClr val="tx1">
                    <a:tint val="75000"/>
                  </a:schemeClr>
                </a:solidFill>
                <a:latin typeface="+mn-lt"/>
                <a:ea typeface="+mn-ea"/>
              </a:defRPr>
            </a:lvl1pPr>
          </a:lstStyle>
          <a:p>
            <a:pPr>
              <a:defRPr/>
            </a:pPr>
            <a:fld id="{E4A666F1-FF06-4A7F-A662-70218D6BE960}" type="datetimeFigureOut">
              <a:rPr lang="zh-CN" altLang="en-US"/>
              <a:pPr>
                <a:defRPr/>
              </a:pPr>
              <a:t>2018-12-06</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fontAlgn="auto">
              <a:spcBef>
                <a:spcPts val="0"/>
              </a:spcBef>
              <a:spcAft>
                <a:spcPts val="0"/>
              </a:spcAft>
              <a:buFontTx/>
              <a:buNone/>
              <a:defRPr sz="1200">
                <a:solidFill>
                  <a:schemeClr val="tx1">
                    <a:tint val="75000"/>
                  </a:schemeClr>
                </a:solidFill>
                <a:latin typeface="+mn-lt"/>
                <a:ea typeface="+mn-ea"/>
              </a:defRPr>
            </a:lvl1pPr>
          </a:lstStyle>
          <a:p>
            <a:pPr>
              <a:defRPr/>
            </a:pPr>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fld id="{E4DB53DC-6943-47B9-A66D-B676E30B4F87}" type="slidenum">
              <a:rPr lang="zh-CN" altLang="en-US"/>
              <a:pPr/>
              <a:t>‹#›</a:t>
            </a:fld>
            <a:endParaRPr lang="zh-CN" altLang="en-US"/>
          </a:p>
        </p:txBody>
      </p:sp>
      <p:pic>
        <p:nvPicPr>
          <p:cNvPr id="1031" name="图片 7"/>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876300" y="6373813"/>
            <a:ext cx="1789113"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3" r:id="rId7"/>
    <p:sldLayoutId id="2147483675" r:id="rId8"/>
    <p:sldLayoutId id="2147483676" r:id="rId9"/>
    <p:sldLayoutId id="2147483665" r:id="rId10"/>
    <p:sldLayoutId id="2147483678" r:id="rId11"/>
    <p:sldLayoutId id="2147483679" r:id="rId12"/>
    <p:sldLayoutId id="2147483664" r:id="rId13"/>
  </p:sldLayoutIdLst>
  <p:txStyles>
    <p:titleStyle>
      <a:lvl1pPr algn="l" rtl="0" eaLnBrk="0" fontAlgn="base" hangingPunct="0">
        <a:lnSpc>
          <a:spcPct val="90000"/>
        </a:lnSpc>
        <a:spcBef>
          <a:spcPct val="0"/>
        </a:spcBef>
        <a:spcAft>
          <a:spcPct val="0"/>
        </a:spcAft>
        <a:defRPr lang="zh-CN" altLang="en-US" sz="2700" b="1" kern="1200" noProof="1" dirty="0">
          <a:solidFill>
            <a:srgbClr val="0070C0"/>
          </a:solidFill>
          <a:latin typeface="Georgia" panose="02040502050405020303" pitchFamily="18" charset="0"/>
          <a:ea typeface="+mj-ea"/>
          <a:cs typeface="+mj-cs"/>
        </a:defRPr>
      </a:lvl1pPr>
      <a:lvl2pPr algn="l" rtl="0" eaLnBrk="0" fontAlgn="base" hangingPunct="0">
        <a:lnSpc>
          <a:spcPct val="90000"/>
        </a:lnSpc>
        <a:spcBef>
          <a:spcPct val="0"/>
        </a:spcBef>
        <a:spcAft>
          <a:spcPct val="0"/>
        </a:spcAft>
        <a:defRPr sz="2700" b="1">
          <a:solidFill>
            <a:srgbClr val="0070C0"/>
          </a:solidFill>
          <a:latin typeface="Georgia" pitchFamily="18" charset="0"/>
          <a:ea typeface="微软雅黑" panose="020B0503020204020204" pitchFamily="34" charset="-122"/>
        </a:defRPr>
      </a:lvl2pPr>
      <a:lvl3pPr algn="l" rtl="0" eaLnBrk="0" fontAlgn="base" hangingPunct="0">
        <a:lnSpc>
          <a:spcPct val="90000"/>
        </a:lnSpc>
        <a:spcBef>
          <a:spcPct val="0"/>
        </a:spcBef>
        <a:spcAft>
          <a:spcPct val="0"/>
        </a:spcAft>
        <a:defRPr sz="2700" b="1">
          <a:solidFill>
            <a:srgbClr val="0070C0"/>
          </a:solidFill>
          <a:latin typeface="Georgia" pitchFamily="18" charset="0"/>
          <a:ea typeface="微软雅黑" panose="020B0503020204020204" pitchFamily="34" charset="-122"/>
        </a:defRPr>
      </a:lvl3pPr>
      <a:lvl4pPr algn="l" rtl="0" eaLnBrk="0" fontAlgn="base" hangingPunct="0">
        <a:lnSpc>
          <a:spcPct val="90000"/>
        </a:lnSpc>
        <a:spcBef>
          <a:spcPct val="0"/>
        </a:spcBef>
        <a:spcAft>
          <a:spcPct val="0"/>
        </a:spcAft>
        <a:defRPr sz="2700" b="1">
          <a:solidFill>
            <a:srgbClr val="0070C0"/>
          </a:solidFill>
          <a:latin typeface="Georgia" pitchFamily="18" charset="0"/>
          <a:ea typeface="微软雅黑" panose="020B0503020204020204" pitchFamily="34" charset="-122"/>
        </a:defRPr>
      </a:lvl4pPr>
      <a:lvl5pPr algn="l" rtl="0" eaLnBrk="0" fontAlgn="base" hangingPunct="0">
        <a:lnSpc>
          <a:spcPct val="90000"/>
        </a:lnSpc>
        <a:spcBef>
          <a:spcPct val="0"/>
        </a:spcBef>
        <a:spcAft>
          <a:spcPct val="0"/>
        </a:spcAft>
        <a:defRPr sz="2700" b="1">
          <a:solidFill>
            <a:srgbClr val="0070C0"/>
          </a:solidFill>
          <a:latin typeface="Georgia" pitchFamily="18" charset="0"/>
          <a:ea typeface="微软雅黑" panose="020B0503020204020204" pitchFamily="34" charset="-122"/>
        </a:defRPr>
      </a:lvl5pPr>
      <a:lvl6pPr marL="457200" algn="l" rtl="0" fontAlgn="base">
        <a:lnSpc>
          <a:spcPct val="90000"/>
        </a:lnSpc>
        <a:spcBef>
          <a:spcPct val="0"/>
        </a:spcBef>
        <a:spcAft>
          <a:spcPct val="0"/>
        </a:spcAft>
        <a:defRPr sz="4400">
          <a:solidFill>
            <a:schemeClr val="tx1"/>
          </a:solidFill>
          <a:latin typeface="Tw Cen MT" panose="020B0602020104020603" pitchFamily="34" charset="0"/>
          <a:ea typeface="微软雅黑" panose="020B0503020204020204" pitchFamily="34" charset="-122"/>
        </a:defRPr>
      </a:lvl6pPr>
      <a:lvl7pPr marL="914400" algn="l" rtl="0" fontAlgn="base">
        <a:lnSpc>
          <a:spcPct val="90000"/>
        </a:lnSpc>
        <a:spcBef>
          <a:spcPct val="0"/>
        </a:spcBef>
        <a:spcAft>
          <a:spcPct val="0"/>
        </a:spcAft>
        <a:defRPr sz="4400">
          <a:solidFill>
            <a:schemeClr val="tx1"/>
          </a:solidFill>
          <a:latin typeface="Tw Cen MT" panose="020B0602020104020603" pitchFamily="34" charset="0"/>
          <a:ea typeface="微软雅黑" panose="020B0503020204020204" pitchFamily="34" charset="-122"/>
        </a:defRPr>
      </a:lvl7pPr>
      <a:lvl8pPr marL="1371600" algn="l" rtl="0" fontAlgn="base">
        <a:lnSpc>
          <a:spcPct val="90000"/>
        </a:lnSpc>
        <a:spcBef>
          <a:spcPct val="0"/>
        </a:spcBef>
        <a:spcAft>
          <a:spcPct val="0"/>
        </a:spcAft>
        <a:defRPr sz="4400">
          <a:solidFill>
            <a:schemeClr val="tx1"/>
          </a:solidFill>
          <a:latin typeface="Tw Cen MT" panose="020B0602020104020603" pitchFamily="34" charset="0"/>
          <a:ea typeface="微软雅黑" panose="020B0503020204020204" pitchFamily="34" charset="-122"/>
        </a:defRPr>
      </a:lvl8pPr>
      <a:lvl9pPr marL="1828800" algn="l" rtl="0" fontAlgn="base">
        <a:lnSpc>
          <a:spcPct val="90000"/>
        </a:lnSpc>
        <a:spcBef>
          <a:spcPct val="0"/>
        </a:spcBef>
        <a:spcAft>
          <a:spcPct val="0"/>
        </a:spcAft>
        <a:defRPr sz="4400">
          <a:solidFill>
            <a:schemeClr val="tx1"/>
          </a:solidFill>
          <a:latin typeface="Tw Cen MT" panose="020B0602020104020603" pitchFamily="34" charset="0"/>
          <a:ea typeface="微软雅黑" panose="020B0503020204020204" pitchFamily="34" charset="-122"/>
        </a:defRPr>
      </a:lvl9pPr>
    </p:titleStyle>
    <p:bodyStyle>
      <a:lvl1pPr marL="228600" indent="-228600" algn="l" rtl="0" eaLnBrk="0" fontAlgn="base" hangingPunct="0">
        <a:lnSpc>
          <a:spcPct val="90000"/>
        </a:lnSpc>
        <a:spcBef>
          <a:spcPts val="1000"/>
        </a:spcBef>
        <a:spcAft>
          <a:spcPct val="0"/>
        </a:spcAft>
        <a:buFont typeface="Arial"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26.wmf"/><Relationship Id="rId4" Type="http://schemas.openxmlformats.org/officeDocument/2006/relationships/image" Target="../media/image25.wmf"/></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8.jpeg"/><Relationship Id="rId7" Type="http://schemas.openxmlformats.org/officeDocument/2006/relationships/diagramColors" Target="../diagrams/colors1.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29.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notesSlide" Target="../notesSlides/notesSlide12.xml"/><Relationship Id="rId5" Type="http://schemas.openxmlformats.org/officeDocument/2006/relationships/tags" Target="../tags/tag9.xml"/><Relationship Id="rId10" Type="http://schemas.openxmlformats.org/officeDocument/2006/relationships/slideLayout" Target="../slideLayouts/slideLayout7.xml"/><Relationship Id="rId4" Type="http://schemas.openxmlformats.org/officeDocument/2006/relationships/tags" Target="../tags/tag8.xml"/><Relationship Id="rId9" Type="http://schemas.openxmlformats.org/officeDocument/2006/relationships/tags" Target="../tags/tag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Layout" Target="../slideLayouts/slideLayout1.xml"/><Relationship Id="rId4" Type="http://schemas.openxmlformats.org/officeDocument/2006/relationships/tags" Target="../tags/tag4.xml"/></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jpeg"/><Relationship Id="rId7"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 Id="rId9"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67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0313338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内容占位符 8"/>
          <p:cNvSpPr>
            <a:spLocks noGrp="1"/>
          </p:cNvSpPr>
          <p:nvPr>
            <p:ph idx="1"/>
          </p:nvPr>
        </p:nvSpPr>
        <p:spPr>
          <a:xfrm>
            <a:off x="893763" y="2027238"/>
            <a:ext cx="4765675" cy="3748087"/>
          </a:xfrm>
        </p:spPr>
        <p:txBody>
          <a:bodyPr>
            <a:normAutofit/>
          </a:bodyPr>
          <a:lstStyle/>
          <a:p>
            <a:pPr marL="514350" indent="-514350" eaLnBrk="1" fontAlgn="auto" hangingPunct="1">
              <a:lnSpc>
                <a:spcPct val="150000"/>
              </a:lnSpc>
              <a:spcBef>
                <a:spcPts val="0"/>
              </a:spcBef>
              <a:buClr>
                <a:srgbClr val="0070C0"/>
              </a:buClr>
              <a:buFont typeface="+mj-ea"/>
              <a:buAutoNum type="circleNumDbPlain"/>
              <a:defRPr/>
            </a:pPr>
            <a:r>
              <a:rPr lang="zh-CN" altLang="en-US" sz="2000" b="1" noProof="1"/>
              <a:t>成果交付</a:t>
            </a:r>
            <a:r>
              <a:rPr lang="zh-CN" altLang="en-US" sz="1800" noProof="1"/>
              <a:t>（目标）</a:t>
            </a:r>
          </a:p>
          <a:p>
            <a:pPr marL="514350" indent="-514350" eaLnBrk="1" fontAlgn="auto" hangingPunct="1">
              <a:lnSpc>
                <a:spcPct val="150000"/>
              </a:lnSpc>
              <a:spcBef>
                <a:spcPts val="0"/>
              </a:spcBef>
              <a:buClr>
                <a:srgbClr val="0070C0"/>
              </a:buClr>
              <a:buFont typeface="+mj-ea"/>
              <a:buAutoNum type="circleNumDbPlain"/>
              <a:defRPr/>
            </a:pPr>
            <a:r>
              <a:rPr lang="zh-CN" altLang="en-US" sz="2000" b="1" noProof="1"/>
              <a:t>过程控制</a:t>
            </a:r>
            <a:r>
              <a:rPr lang="zh-CN" altLang="en-US" sz="1800" noProof="1"/>
              <a:t>（规章、制度、方法）</a:t>
            </a:r>
          </a:p>
          <a:p>
            <a:pPr marL="514350" indent="-514350" eaLnBrk="1" fontAlgn="auto" hangingPunct="1">
              <a:lnSpc>
                <a:spcPct val="150000"/>
              </a:lnSpc>
              <a:spcBef>
                <a:spcPts val="0"/>
              </a:spcBef>
              <a:buClr>
                <a:srgbClr val="0070C0"/>
              </a:buClr>
              <a:buFont typeface="+mj-ea"/>
              <a:buAutoNum type="circleNumDbPlain"/>
              <a:defRPr/>
            </a:pPr>
            <a:r>
              <a:rPr lang="zh-CN" altLang="en-US" sz="2000" b="1" noProof="1"/>
              <a:t>计划为纲</a:t>
            </a:r>
            <a:r>
              <a:rPr lang="zh-CN" altLang="en-US" sz="1800" noProof="1"/>
              <a:t>（计划）</a:t>
            </a:r>
          </a:p>
          <a:p>
            <a:pPr marL="514350" indent="-514350" eaLnBrk="1" fontAlgn="auto" hangingPunct="1">
              <a:lnSpc>
                <a:spcPct val="150000"/>
              </a:lnSpc>
              <a:spcBef>
                <a:spcPts val="0"/>
              </a:spcBef>
              <a:buClr>
                <a:srgbClr val="0070C0"/>
              </a:buClr>
              <a:buFont typeface="+mj-ea"/>
              <a:buAutoNum type="circleNumDbPlain"/>
              <a:defRPr/>
            </a:pPr>
            <a:r>
              <a:rPr lang="zh-CN" altLang="en-US" sz="2000" b="1" noProof="1"/>
              <a:t>动态调整</a:t>
            </a:r>
            <a:r>
              <a:rPr lang="zh-CN" altLang="en-US" sz="1800" noProof="1"/>
              <a:t>（监控、变更）</a:t>
            </a:r>
          </a:p>
          <a:p>
            <a:pPr marL="514350" indent="-514350" eaLnBrk="1" fontAlgn="auto" hangingPunct="1">
              <a:lnSpc>
                <a:spcPct val="150000"/>
              </a:lnSpc>
              <a:spcBef>
                <a:spcPts val="0"/>
              </a:spcBef>
              <a:buClr>
                <a:srgbClr val="0070C0"/>
              </a:buClr>
              <a:buFont typeface="+mj-ea"/>
              <a:buAutoNum type="circleNumDbPlain"/>
              <a:defRPr/>
            </a:pPr>
            <a:r>
              <a:rPr lang="zh-CN" altLang="en-US" sz="2000" b="1" noProof="1"/>
              <a:t>运筹帷幄</a:t>
            </a:r>
            <a:r>
              <a:rPr lang="zh-CN" altLang="en-US" sz="1800" noProof="1"/>
              <a:t>（整合）</a:t>
            </a:r>
          </a:p>
          <a:p>
            <a:pPr marL="514350" indent="-514350" eaLnBrk="1" fontAlgn="auto" hangingPunct="1">
              <a:lnSpc>
                <a:spcPct val="150000"/>
              </a:lnSpc>
              <a:spcBef>
                <a:spcPts val="0"/>
              </a:spcBef>
              <a:buClr>
                <a:srgbClr val="0070C0"/>
              </a:buClr>
              <a:buFont typeface="+mj-ea"/>
              <a:buAutoNum type="circleNumDbPlain"/>
              <a:defRPr/>
            </a:pPr>
            <a:endParaRPr lang="zh-CN" altLang="en-US" noProof="1"/>
          </a:p>
        </p:txBody>
      </p:sp>
      <p:sp>
        <p:nvSpPr>
          <p:cNvPr id="27650" name="文本框 10"/>
          <p:cNvSpPr txBox="1">
            <a:spLocks noChangeArrowheads="1"/>
          </p:cNvSpPr>
          <p:nvPr/>
        </p:nvSpPr>
        <p:spPr bwMode="auto">
          <a:xfrm>
            <a:off x="4584700" y="2035175"/>
            <a:ext cx="4371975" cy="240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514350" indent="-514350">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150000"/>
              </a:lnSpc>
              <a:buClr>
                <a:srgbClr val="0070C0"/>
              </a:buClr>
              <a:buFont typeface="Tw Cen MT" pitchFamily="34" charset="0"/>
              <a:buAutoNum type="circleNumDbPlain" startAt="6"/>
            </a:pPr>
            <a:r>
              <a:rPr lang="zh-CN" altLang="en-US" sz="2000" b="1"/>
              <a:t>做且且做，恰到好处</a:t>
            </a:r>
            <a:r>
              <a:rPr lang="zh-CN" altLang="en-US"/>
              <a:t>（范围、质量）</a:t>
            </a:r>
          </a:p>
          <a:p>
            <a:pPr>
              <a:lnSpc>
                <a:spcPct val="150000"/>
              </a:lnSpc>
              <a:buClr>
                <a:srgbClr val="0070C0"/>
              </a:buClr>
              <a:buFont typeface="Tw Cen MT" pitchFamily="34" charset="0"/>
              <a:buAutoNum type="circleNumDbPlain" startAt="6"/>
            </a:pPr>
            <a:r>
              <a:rPr lang="zh-CN" altLang="en-US" sz="2000" b="1">
                <a:latin typeface="微软雅黑" pitchFamily="34" charset="-122"/>
              </a:rPr>
              <a:t>合作共赢</a:t>
            </a:r>
            <a:r>
              <a:rPr lang="zh-CN" altLang="en-US">
                <a:ea typeface="Microsoft YaHei UI" pitchFamily="34" charset="-122"/>
              </a:rPr>
              <a:t>（人力、干系人、</a:t>
            </a:r>
            <a:r>
              <a:rPr lang="zh-CN" altLang="en-US" smtClean="0">
                <a:ea typeface="Microsoft YaHei UI" pitchFamily="34" charset="-122"/>
              </a:rPr>
              <a:t>采购）</a:t>
            </a:r>
            <a:endParaRPr lang="zh-CN" altLang="en-US">
              <a:ea typeface="Microsoft YaHei UI" pitchFamily="34" charset="-122"/>
            </a:endParaRPr>
          </a:p>
          <a:p>
            <a:pPr>
              <a:lnSpc>
                <a:spcPct val="150000"/>
              </a:lnSpc>
              <a:buClr>
                <a:srgbClr val="0070C0"/>
              </a:buClr>
              <a:buFont typeface="Tw Cen MT" pitchFamily="34" charset="0"/>
              <a:buAutoNum type="circleNumDbPlain" startAt="6"/>
            </a:pPr>
            <a:r>
              <a:rPr lang="zh-CN" altLang="en-US" sz="2000" b="1"/>
              <a:t>互通有无（沟通）</a:t>
            </a:r>
          </a:p>
          <a:p>
            <a:pPr>
              <a:lnSpc>
                <a:spcPct val="150000"/>
              </a:lnSpc>
              <a:buClr>
                <a:srgbClr val="0070C0"/>
              </a:buClr>
              <a:buFont typeface="Tw Cen MT" pitchFamily="34" charset="0"/>
              <a:buAutoNum type="circleNumDbPlain" startAt="6"/>
            </a:pPr>
            <a:r>
              <a:rPr lang="zh-CN" altLang="en-US" sz="2000" b="1">
                <a:latin typeface="微软雅黑" pitchFamily="34" charset="-122"/>
              </a:rPr>
              <a:t>未雨绸缪</a:t>
            </a:r>
            <a:r>
              <a:rPr lang="zh-CN" altLang="en-US">
                <a:ea typeface="Microsoft YaHei UI" pitchFamily="34" charset="-122"/>
              </a:rPr>
              <a:t>（风险）</a:t>
            </a:r>
          </a:p>
          <a:p>
            <a:pPr>
              <a:lnSpc>
                <a:spcPct val="150000"/>
              </a:lnSpc>
              <a:buClr>
                <a:srgbClr val="0070C0"/>
              </a:buClr>
              <a:buFont typeface="Tw Cen MT" pitchFamily="34" charset="0"/>
              <a:buAutoNum type="circleNumDbPlain" startAt="6"/>
            </a:pPr>
            <a:r>
              <a:rPr lang="zh-CN" altLang="en-US" sz="2000" b="1">
                <a:latin typeface="微软雅黑" pitchFamily="34" charset="-122"/>
              </a:rPr>
              <a:t>资治通鉴</a:t>
            </a:r>
            <a:r>
              <a:rPr lang="zh-CN" altLang="en-US">
                <a:ea typeface="Microsoft YaHei UI" pitchFamily="34" charset="-122"/>
              </a:rPr>
              <a:t>（组织过程资产）</a:t>
            </a:r>
          </a:p>
        </p:txBody>
      </p:sp>
      <p:sp>
        <p:nvSpPr>
          <p:cNvPr id="27651" name="文本框 1"/>
          <p:cNvSpPr txBox="1">
            <a:spLocks noChangeArrowheads="1"/>
          </p:cNvSpPr>
          <p:nvPr/>
        </p:nvSpPr>
        <p:spPr bwMode="auto">
          <a:xfrm>
            <a:off x="695325" y="1206500"/>
            <a:ext cx="8259763" cy="70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zh-CN" altLang="en-US" sz="4000" b="1">
                <a:solidFill>
                  <a:srgbClr val="C00000"/>
                </a:solidFill>
                <a:latin typeface="微软雅黑" pitchFamily="34" charset="-122"/>
                <a:sym typeface="微软雅黑" pitchFamily="34" charset="-122"/>
              </a:rPr>
              <a:t>项目管理的核心价值观与方法论</a:t>
            </a:r>
          </a:p>
        </p:txBody>
      </p:sp>
      <p:sp>
        <p:nvSpPr>
          <p:cNvPr id="27652" name="文本框 2"/>
          <p:cNvSpPr txBox="1">
            <a:spLocks noChangeArrowheads="1"/>
          </p:cNvSpPr>
          <p:nvPr/>
        </p:nvSpPr>
        <p:spPr bwMode="auto">
          <a:xfrm>
            <a:off x="1087438" y="4622800"/>
            <a:ext cx="786765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lnSpc>
                <a:spcPct val="90000"/>
              </a:lnSpc>
              <a:spcBef>
                <a:spcPts val="1800"/>
              </a:spcBef>
              <a:buClr>
                <a:schemeClr val="accent1"/>
              </a:buClr>
              <a:buFont typeface="Tw Cen MT" pitchFamily="34" charset="0"/>
              <a:buNone/>
            </a:pPr>
            <a:r>
              <a:rPr lang="zh-CN" altLang="en-US" sz="3200" b="1">
                <a:solidFill>
                  <a:srgbClr val="00B050"/>
                </a:solidFill>
              </a:rPr>
              <a:t>运用之妙、存乎一心</a:t>
            </a:r>
            <a:r>
              <a:rPr lang="zh-CN" altLang="en-US" sz="2400">
                <a:ea typeface="Microsoft YaHei UI" pitchFamily="34" charset="-122"/>
              </a:rPr>
              <a:t>（组织内外部环境）</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673" name="组合 13"/>
          <p:cNvGrpSpPr>
            <a:grpSpLocks/>
          </p:cNvGrpSpPr>
          <p:nvPr/>
        </p:nvGrpSpPr>
        <p:grpSpPr bwMode="auto">
          <a:xfrm>
            <a:off x="625475" y="2627313"/>
            <a:ext cx="4695825" cy="801687"/>
            <a:chOff x="624195" y="1609571"/>
            <a:chExt cx="5545346" cy="859849"/>
          </a:xfrm>
        </p:grpSpPr>
        <p:grpSp>
          <p:nvGrpSpPr>
            <p:cNvPr id="28674" name="组合 14"/>
            <p:cNvGrpSpPr>
              <a:grpSpLocks/>
            </p:cNvGrpSpPr>
            <p:nvPr/>
          </p:nvGrpSpPr>
          <p:grpSpPr bwMode="auto">
            <a:xfrm>
              <a:off x="751502" y="1609571"/>
              <a:ext cx="5418039" cy="859849"/>
              <a:chOff x="5292100" y="1549491"/>
              <a:chExt cx="2003508" cy="984647"/>
            </a:xfrm>
          </p:grpSpPr>
          <p:sp>
            <p:nvSpPr>
              <p:cNvPr id="25" name="Freeform 6"/>
              <p:cNvSpPr/>
              <p:nvPr/>
            </p:nvSpPr>
            <p:spPr bwMode="ltGray">
              <a:xfrm rot="16200000">
                <a:off x="5801562" y="1040092"/>
                <a:ext cx="984647" cy="2003444"/>
              </a:xfrm>
              <a:prstGeom prst="trapezoid">
                <a:avLst>
                  <a:gd name="adj" fmla="val 0"/>
                </a:avLst>
              </a:prstGeom>
              <a:solidFill>
                <a:srgbClr val="00A0E8"/>
              </a:solidFill>
              <a:ln w="3175" cap="flat" cmpd="sng" algn="ctr">
                <a:noFill/>
                <a:prstDash val="solid"/>
              </a:ln>
              <a:effectLst/>
            </p:spPr>
            <p:txBody>
              <a:bodyPr anchor="ctr"/>
              <a:lstStyle/>
              <a:p>
                <a:pPr algn="ctr" fontAlgn="auto">
                  <a:lnSpc>
                    <a:spcPct val="120000"/>
                  </a:lnSpc>
                  <a:spcBef>
                    <a:spcPts val="0"/>
                  </a:spcBef>
                  <a:spcAft>
                    <a:spcPts val="0"/>
                  </a:spcAft>
                  <a:buFontTx/>
                  <a:buNone/>
                  <a:defRPr/>
                </a:pPr>
                <a:endParaRPr lang="zh-CN" altLang="en-US" sz="100" b="1" kern="0" dirty="0">
                  <a:solidFill>
                    <a:srgbClr val="F9F9F9"/>
                  </a:solidFill>
                  <a:latin typeface="微软雅黑" panose="020B0503020204020204" pitchFamily="34" charset="-122"/>
                </a:endParaRPr>
              </a:p>
            </p:txBody>
          </p:sp>
          <p:sp>
            <p:nvSpPr>
              <p:cNvPr id="28676" name="文本占位符 1"/>
              <p:cNvSpPr txBox="1">
                <a:spLocks noChangeArrowheads="1"/>
              </p:cNvSpPr>
              <p:nvPr/>
            </p:nvSpPr>
            <p:spPr bwMode="auto">
              <a:xfrm>
                <a:off x="5472810" y="1743837"/>
                <a:ext cx="1777375" cy="622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9728" tIns="54864" rIns="109728" bIns="54864">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en-US" sz="2400">
                    <a:solidFill>
                      <a:schemeClr val="bg1"/>
                    </a:solidFill>
                    <a:latin typeface="微软雅黑" pitchFamily="34" charset="-122"/>
                  </a:rPr>
                  <a:t>责任：承担责任，尽职履责</a:t>
                </a:r>
              </a:p>
            </p:txBody>
          </p:sp>
        </p:grpSp>
        <p:grpSp>
          <p:nvGrpSpPr>
            <p:cNvPr id="17" name="组合 16"/>
            <p:cNvGrpSpPr/>
            <p:nvPr/>
          </p:nvGrpSpPr>
          <p:grpSpPr>
            <a:xfrm>
              <a:off x="624195" y="1808303"/>
              <a:ext cx="559307" cy="515254"/>
              <a:chOff x="1209483" y="1767276"/>
              <a:chExt cx="685069" cy="631109"/>
            </a:xfrm>
          </p:grpSpPr>
          <p:sp>
            <p:nvSpPr>
              <p:cNvPr id="23" name="Rectangle 57"/>
              <p:cNvSpPr/>
              <p:nvPr/>
            </p:nvSpPr>
            <p:spPr bwMode="auto">
              <a:xfrm rot="5400000" flipH="1">
                <a:off x="1243474" y="2276453"/>
                <a:ext cx="87946" cy="155917"/>
              </a:xfrm>
              <a:custGeom>
                <a:avLst/>
                <a:gdLst>
                  <a:gd name="connsiteX0" fmla="*/ 0 w 1333466"/>
                  <a:gd name="connsiteY0" fmla="*/ 900000 h 900000"/>
                  <a:gd name="connsiteX1" fmla="*/ 531333 w 1333466"/>
                  <a:gd name="connsiteY1" fmla="*/ 0 h 900000"/>
                  <a:gd name="connsiteX2" fmla="*/ 1333466 w 1333466"/>
                  <a:gd name="connsiteY2" fmla="*/ 0 h 900000"/>
                  <a:gd name="connsiteX3" fmla="*/ 802133 w 1333466"/>
                  <a:gd name="connsiteY3" fmla="*/ 900000 h 900000"/>
                  <a:gd name="connsiteX4" fmla="*/ 0 w 1333466"/>
                  <a:gd name="connsiteY4" fmla="*/ 900000 h 900000"/>
                  <a:gd name="connsiteX0-1" fmla="*/ 270800 w 802133"/>
                  <a:gd name="connsiteY0-2" fmla="*/ 900000 h 900000"/>
                  <a:gd name="connsiteX1-3" fmla="*/ 0 w 802133"/>
                  <a:gd name="connsiteY1-4" fmla="*/ 0 h 900000"/>
                  <a:gd name="connsiteX2-5" fmla="*/ 802133 w 802133"/>
                  <a:gd name="connsiteY2-6" fmla="*/ 0 h 900000"/>
                  <a:gd name="connsiteX3-7" fmla="*/ 270800 w 802133"/>
                  <a:gd name="connsiteY3-8" fmla="*/ 900000 h 900000"/>
                  <a:gd name="connsiteX0-9" fmla="*/ 693881 w 802133"/>
                  <a:gd name="connsiteY0-10" fmla="*/ 613400 h 613400"/>
                  <a:gd name="connsiteX1-11" fmla="*/ 0 w 802133"/>
                  <a:gd name="connsiteY1-12" fmla="*/ 0 h 613400"/>
                  <a:gd name="connsiteX2-13" fmla="*/ 802133 w 802133"/>
                  <a:gd name="connsiteY2-14" fmla="*/ 0 h 613400"/>
                  <a:gd name="connsiteX3-15" fmla="*/ 693881 w 802133"/>
                  <a:gd name="connsiteY3-16" fmla="*/ 613400 h 613400"/>
                  <a:gd name="connsiteX0-17" fmla="*/ 270800 w 379052"/>
                  <a:gd name="connsiteY0-18" fmla="*/ 613400 h 613400"/>
                  <a:gd name="connsiteX1-19" fmla="*/ 0 w 379052"/>
                  <a:gd name="connsiteY1-20" fmla="*/ 40946 h 613400"/>
                  <a:gd name="connsiteX2-21" fmla="*/ 379052 w 379052"/>
                  <a:gd name="connsiteY2-22" fmla="*/ 0 h 613400"/>
                  <a:gd name="connsiteX3-23" fmla="*/ 270800 w 379052"/>
                  <a:gd name="connsiteY3-24" fmla="*/ 613400 h 613400"/>
                  <a:gd name="connsiteX0-25" fmla="*/ 387843 w 496095"/>
                  <a:gd name="connsiteY0-26" fmla="*/ 613400 h 613400"/>
                  <a:gd name="connsiteX1-27" fmla="*/ 0 w 496095"/>
                  <a:gd name="connsiteY1-28" fmla="*/ 11685 h 613400"/>
                  <a:gd name="connsiteX2-29" fmla="*/ 496095 w 496095"/>
                  <a:gd name="connsiteY2-30" fmla="*/ 0 h 613400"/>
                  <a:gd name="connsiteX3-31" fmla="*/ 387843 w 496095"/>
                  <a:gd name="connsiteY3-32" fmla="*/ 613400 h 613400"/>
                  <a:gd name="connsiteX0-33" fmla="*/ 424420 w 532672"/>
                  <a:gd name="connsiteY0-34" fmla="*/ 613400 h 613400"/>
                  <a:gd name="connsiteX1-35" fmla="*/ 0 w 532672"/>
                  <a:gd name="connsiteY1-36" fmla="*/ 4372 h 613400"/>
                  <a:gd name="connsiteX2-37" fmla="*/ 532672 w 532672"/>
                  <a:gd name="connsiteY2-38" fmla="*/ 0 h 613400"/>
                  <a:gd name="connsiteX3-39" fmla="*/ 424420 w 532672"/>
                  <a:gd name="connsiteY3-40" fmla="*/ 613400 h 613400"/>
                </a:gdLst>
                <a:ahLst/>
                <a:cxnLst>
                  <a:cxn ang="0">
                    <a:pos x="connsiteX0-1" y="connsiteY0-2"/>
                  </a:cxn>
                  <a:cxn ang="0">
                    <a:pos x="connsiteX1-3" y="connsiteY1-4"/>
                  </a:cxn>
                  <a:cxn ang="0">
                    <a:pos x="connsiteX2-5" y="connsiteY2-6"/>
                  </a:cxn>
                  <a:cxn ang="0">
                    <a:pos x="connsiteX3-7" y="connsiteY3-8"/>
                  </a:cxn>
                </a:cxnLst>
                <a:rect l="l" t="t" r="r" b="b"/>
                <a:pathLst>
                  <a:path w="532672" h="613400">
                    <a:moveTo>
                      <a:pt x="424420" y="613400"/>
                    </a:moveTo>
                    <a:lnTo>
                      <a:pt x="0" y="4372"/>
                    </a:lnTo>
                    <a:lnTo>
                      <a:pt x="532672" y="0"/>
                    </a:lnTo>
                    <a:lnTo>
                      <a:pt x="424420" y="613400"/>
                    </a:lnTo>
                    <a:close/>
                  </a:path>
                </a:pathLst>
              </a:custGeom>
              <a:solidFill>
                <a:srgbClr val="C000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54857" tIns="54857" rIns="109712" bIns="54857" anchor="b"/>
              <a:lstStyle/>
              <a:p>
                <a:pPr algn="ctr" defTabSz="1217930">
                  <a:spcBef>
                    <a:spcPts val="840"/>
                  </a:spcBef>
                  <a:buClr>
                    <a:srgbClr val="C2C2C2">
                      <a:lumMod val="75000"/>
                    </a:srgbClr>
                  </a:buClr>
                  <a:buSzPct val="100000"/>
                </a:pPr>
                <a:r>
                  <a:rPr lang="en-US" sz="100" b="1" dirty="0">
                    <a:solidFill>
                      <a:srgbClr val="FFFFFF">
                        <a:alpha val="99000"/>
                      </a:srgbClr>
                    </a:solidFill>
                    <a:latin typeface="微软雅黑" panose="020B0503020204020204" pitchFamily="34" charset="-122"/>
                    <a:cs typeface="Segoe UI" panose="020B0502040204020203" pitchFamily="34" charset="0"/>
                  </a:rPr>
                  <a:t/>
                </a:r>
                <a:br>
                  <a:rPr lang="en-US" sz="100" b="1" dirty="0">
                    <a:solidFill>
                      <a:srgbClr val="FFFFFF">
                        <a:alpha val="99000"/>
                      </a:srgbClr>
                    </a:solidFill>
                    <a:latin typeface="微软雅黑" panose="020B0503020204020204" pitchFamily="34" charset="-122"/>
                    <a:cs typeface="Segoe UI" panose="020B0502040204020203" pitchFamily="34" charset="0"/>
                  </a:rPr>
                </a:br>
                <a:r>
                  <a:rPr lang="en-US" sz="100" b="1" noProof="1">
                    <a:solidFill>
                      <a:srgbClr val="FFFFFF">
                        <a:alpha val="99000"/>
                      </a:srgbClr>
                    </a:solidFill>
                    <a:latin typeface="微软雅黑" panose="020B0503020204020204" pitchFamily="34" charset="-122"/>
                    <a:cs typeface="Segoe UI" panose="020B0502040204020203" pitchFamily="34" charset="0"/>
                  </a:rPr>
                  <a:t> </a:t>
                </a:r>
              </a:p>
            </p:txBody>
          </p:sp>
          <p:sp>
            <p:nvSpPr>
              <p:cNvPr id="24" name="剪去同侧角的矩形 24"/>
              <p:cNvSpPr/>
              <p:nvPr/>
            </p:nvSpPr>
            <p:spPr bwMode="auto">
              <a:xfrm rot="5400000">
                <a:off x="1274926" y="1701833"/>
                <a:ext cx="554183" cy="685069"/>
              </a:xfrm>
              <a:prstGeom prst="snip2SameRect">
                <a:avLst>
                  <a:gd name="adj1" fmla="val 50000"/>
                  <a:gd name="adj2" fmla="val 0"/>
                </a:avLst>
              </a:prstGeom>
              <a:solidFill>
                <a:srgbClr val="E74C3C"/>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54857" tIns="54857" rIns="109712" bIns="54857" anchor="b"/>
              <a:lstStyle/>
              <a:p>
                <a:pPr algn="ctr" defTabSz="1217930">
                  <a:spcBef>
                    <a:spcPts val="840"/>
                  </a:spcBef>
                  <a:buClr>
                    <a:srgbClr val="C2C2C2">
                      <a:lumMod val="75000"/>
                    </a:srgbClr>
                  </a:buClr>
                  <a:buSzPct val="100000"/>
                </a:pPr>
                <a:r>
                  <a:rPr lang="en-US" sz="100" b="1" dirty="0">
                    <a:solidFill>
                      <a:srgbClr val="FFFFFF">
                        <a:alpha val="99000"/>
                      </a:srgbClr>
                    </a:solidFill>
                    <a:latin typeface="微软雅黑" panose="020B0503020204020204" pitchFamily="34" charset="-122"/>
                    <a:cs typeface="Segoe UI" panose="020B0502040204020203" pitchFamily="34" charset="0"/>
                  </a:rPr>
                  <a:t/>
                </a:r>
                <a:br>
                  <a:rPr lang="en-US" sz="100" b="1" dirty="0">
                    <a:solidFill>
                      <a:srgbClr val="FFFFFF">
                        <a:alpha val="99000"/>
                      </a:srgbClr>
                    </a:solidFill>
                    <a:latin typeface="微软雅黑" panose="020B0503020204020204" pitchFamily="34" charset="-122"/>
                    <a:cs typeface="Segoe UI" panose="020B0502040204020203" pitchFamily="34" charset="0"/>
                  </a:rPr>
                </a:br>
                <a:r>
                  <a:rPr lang="en-US" sz="100" b="1" noProof="1">
                    <a:solidFill>
                      <a:srgbClr val="FFFFFF">
                        <a:alpha val="99000"/>
                      </a:srgbClr>
                    </a:solidFill>
                    <a:latin typeface="微软雅黑" panose="020B0503020204020204" pitchFamily="34" charset="-122"/>
                    <a:cs typeface="Segoe UI" panose="020B0502040204020203" pitchFamily="34" charset="0"/>
                  </a:rPr>
                  <a:t> </a:t>
                </a:r>
              </a:p>
            </p:txBody>
          </p:sp>
        </p:grpSp>
        <p:sp>
          <p:nvSpPr>
            <p:cNvPr id="28678" name="文本占位符 1"/>
            <p:cNvSpPr txBox="1">
              <a:spLocks noChangeArrowheads="1"/>
            </p:cNvSpPr>
            <p:nvPr/>
          </p:nvSpPr>
          <p:spPr bwMode="auto">
            <a:xfrm>
              <a:off x="669412" y="1749521"/>
              <a:ext cx="360047" cy="543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9728" tIns="54864" rIns="109728" bIns="54864">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en-US" altLang="zh-CN" sz="2400">
                  <a:solidFill>
                    <a:schemeClr val="bg1"/>
                  </a:solidFill>
                  <a:latin typeface="微软雅黑" pitchFamily="34" charset="-122"/>
                </a:rPr>
                <a:t>1</a:t>
              </a:r>
            </a:p>
          </p:txBody>
        </p:sp>
      </p:grpSp>
      <p:grpSp>
        <p:nvGrpSpPr>
          <p:cNvPr id="28679" name="组合 26"/>
          <p:cNvGrpSpPr>
            <a:grpSpLocks/>
          </p:cNvGrpSpPr>
          <p:nvPr/>
        </p:nvGrpSpPr>
        <p:grpSpPr bwMode="auto">
          <a:xfrm>
            <a:off x="625475" y="3532188"/>
            <a:ext cx="4695825" cy="836612"/>
            <a:chOff x="624195" y="1609571"/>
            <a:chExt cx="5545346" cy="859849"/>
          </a:xfrm>
        </p:grpSpPr>
        <p:grpSp>
          <p:nvGrpSpPr>
            <p:cNvPr id="28680" name="组合 27"/>
            <p:cNvGrpSpPr>
              <a:grpSpLocks/>
            </p:cNvGrpSpPr>
            <p:nvPr/>
          </p:nvGrpSpPr>
          <p:grpSpPr bwMode="auto">
            <a:xfrm>
              <a:off x="751502" y="1609571"/>
              <a:ext cx="5418039" cy="859849"/>
              <a:chOff x="5292100" y="1549491"/>
              <a:chExt cx="2003508" cy="984647"/>
            </a:xfrm>
          </p:grpSpPr>
          <p:sp>
            <p:nvSpPr>
              <p:cNvPr id="33" name="Freeform 6"/>
              <p:cNvSpPr/>
              <p:nvPr/>
            </p:nvSpPr>
            <p:spPr bwMode="ltGray">
              <a:xfrm rot="16200000">
                <a:off x="5801563" y="1040092"/>
                <a:ext cx="984647" cy="2003444"/>
              </a:xfrm>
              <a:prstGeom prst="trapezoid">
                <a:avLst>
                  <a:gd name="adj" fmla="val 0"/>
                </a:avLst>
              </a:prstGeom>
              <a:solidFill>
                <a:srgbClr val="00A0E8"/>
              </a:solidFill>
              <a:ln w="3175" cap="flat" cmpd="sng" algn="ctr">
                <a:noFill/>
                <a:prstDash val="solid"/>
              </a:ln>
              <a:effectLst/>
            </p:spPr>
            <p:txBody>
              <a:bodyPr anchor="ctr"/>
              <a:lstStyle/>
              <a:p>
                <a:pPr algn="ctr" fontAlgn="auto">
                  <a:lnSpc>
                    <a:spcPct val="120000"/>
                  </a:lnSpc>
                  <a:spcBef>
                    <a:spcPts val="0"/>
                  </a:spcBef>
                  <a:spcAft>
                    <a:spcPts val="0"/>
                  </a:spcAft>
                  <a:buFontTx/>
                  <a:buNone/>
                  <a:defRPr/>
                </a:pPr>
                <a:endParaRPr lang="zh-CN" altLang="en-US" sz="100" b="1" kern="0" dirty="0">
                  <a:solidFill>
                    <a:srgbClr val="F9F9F9"/>
                  </a:solidFill>
                  <a:latin typeface="微软雅黑" panose="020B0503020204020204" pitchFamily="34" charset="-122"/>
                </a:endParaRPr>
              </a:p>
            </p:txBody>
          </p:sp>
          <p:sp>
            <p:nvSpPr>
              <p:cNvPr id="28682" name="文本占位符 1"/>
              <p:cNvSpPr txBox="1">
                <a:spLocks noChangeArrowheads="1"/>
              </p:cNvSpPr>
              <p:nvPr/>
            </p:nvSpPr>
            <p:spPr bwMode="auto">
              <a:xfrm>
                <a:off x="5472810" y="1743837"/>
                <a:ext cx="1822798" cy="622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9728" tIns="54864" rIns="109728" bIns="54864">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en-US" sz="2400">
                    <a:solidFill>
                      <a:schemeClr val="bg1"/>
                    </a:solidFill>
                    <a:latin typeface="微软雅黑" pitchFamily="34" charset="-122"/>
                  </a:rPr>
                  <a:t>尊重：尊重各方，理解各方</a:t>
                </a:r>
              </a:p>
            </p:txBody>
          </p:sp>
        </p:grpSp>
        <p:grpSp>
          <p:nvGrpSpPr>
            <p:cNvPr id="29" name="组合 28"/>
            <p:cNvGrpSpPr/>
            <p:nvPr/>
          </p:nvGrpSpPr>
          <p:grpSpPr>
            <a:xfrm>
              <a:off x="624195" y="1808303"/>
              <a:ext cx="559307" cy="515254"/>
              <a:chOff x="1209483" y="1767276"/>
              <a:chExt cx="685069" cy="631109"/>
            </a:xfrm>
          </p:grpSpPr>
          <p:sp>
            <p:nvSpPr>
              <p:cNvPr id="31" name="Rectangle 57"/>
              <p:cNvSpPr/>
              <p:nvPr/>
            </p:nvSpPr>
            <p:spPr bwMode="auto">
              <a:xfrm rot="5400000" flipH="1">
                <a:off x="1243474" y="2276453"/>
                <a:ext cx="87946" cy="155917"/>
              </a:xfrm>
              <a:custGeom>
                <a:avLst/>
                <a:gdLst>
                  <a:gd name="connsiteX0" fmla="*/ 0 w 1333466"/>
                  <a:gd name="connsiteY0" fmla="*/ 900000 h 900000"/>
                  <a:gd name="connsiteX1" fmla="*/ 531333 w 1333466"/>
                  <a:gd name="connsiteY1" fmla="*/ 0 h 900000"/>
                  <a:gd name="connsiteX2" fmla="*/ 1333466 w 1333466"/>
                  <a:gd name="connsiteY2" fmla="*/ 0 h 900000"/>
                  <a:gd name="connsiteX3" fmla="*/ 802133 w 1333466"/>
                  <a:gd name="connsiteY3" fmla="*/ 900000 h 900000"/>
                  <a:gd name="connsiteX4" fmla="*/ 0 w 1333466"/>
                  <a:gd name="connsiteY4" fmla="*/ 900000 h 900000"/>
                  <a:gd name="connsiteX0-1" fmla="*/ 270800 w 802133"/>
                  <a:gd name="connsiteY0-2" fmla="*/ 900000 h 900000"/>
                  <a:gd name="connsiteX1-3" fmla="*/ 0 w 802133"/>
                  <a:gd name="connsiteY1-4" fmla="*/ 0 h 900000"/>
                  <a:gd name="connsiteX2-5" fmla="*/ 802133 w 802133"/>
                  <a:gd name="connsiteY2-6" fmla="*/ 0 h 900000"/>
                  <a:gd name="connsiteX3-7" fmla="*/ 270800 w 802133"/>
                  <a:gd name="connsiteY3-8" fmla="*/ 900000 h 900000"/>
                  <a:gd name="connsiteX0-9" fmla="*/ 693881 w 802133"/>
                  <a:gd name="connsiteY0-10" fmla="*/ 613400 h 613400"/>
                  <a:gd name="connsiteX1-11" fmla="*/ 0 w 802133"/>
                  <a:gd name="connsiteY1-12" fmla="*/ 0 h 613400"/>
                  <a:gd name="connsiteX2-13" fmla="*/ 802133 w 802133"/>
                  <a:gd name="connsiteY2-14" fmla="*/ 0 h 613400"/>
                  <a:gd name="connsiteX3-15" fmla="*/ 693881 w 802133"/>
                  <a:gd name="connsiteY3-16" fmla="*/ 613400 h 613400"/>
                  <a:gd name="connsiteX0-17" fmla="*/ 270800 w 379052"/>
                  <a:gd name="connsiteY0-18" fmla="*/ 613400 h 613400"/>
                  <a:gd name="connsiteX1-19" fmla="*/ 0 w 379052"/>
                  <a:gd name="connsiteY1-20" fmla="*/ 40946 h 613400"/>
                  <a:gd name="connsiteX2-21" fmla="*/ 379052 w 379052"/>
                  <a:gd name="connsiteY2-22" fmla="*/ 0 h 613400"/>
                  <a:gd name="connsiteX3-23" fmla="*/ 270800 w 379052"/>
                  <a:gd name="connsiteY3-24" fmla="*/ 613400 h 613400"/>
                  <a:gd name="connsiteX0-25" fmla="*/ 387843 w 496095"/>
                  <a:gd name="connsiteY0-26" fmla="*/ 613400 h 613400"/>
                  <a:gd name="connsiteX1-27" fmla="*/ 0 w 496095"/>
                  <a:gd name="connsiteY1-28" fmla="*/ 11685 h 613400"/>
                  <a:gd name="connsiteX2-29" fmla="*/ 496095 w 496095"/>
                  <a:gd name="connsiteY2-30" fmla="*/ 0 h 613400"/>
                  <a:gd name="connsiteX3-31" fmla="*/ 387843 w 496095"/>
                  <a:gd name="connsiteY3-32" fmla="*/ 613400 h 613400"/>
                  <a:gd name="connsiteX0-33" fmla="*/ 424420 w 532672"/>
                  <a:gd name="connsiteY0-34" fmla="*/ 613400 h 613400"/>
                  <a:gd name="connsiteX1-35" fmla="*/ 0 w 532672"/>
                  <a:gd name="connsiteY1-36" fmla="*/ 4372 h 613400"/>
                  <a:gd name="connsiteX2-37" fmla="*/ 532672 w 532672"/>
                  <a:gd name="connsiteY2-38" fmla="*/ 0 h 613400"/>
                  <a:gd name="connsiteX3-39" fmla="*/ 424420 w 532672"/>
                  <a:gd name="connsiteY3-40" fmla="*/ 613400 h 613400"/>
                </a:gdLst>
                <a:ahLst/>
                <a:cxnLst>
                  <a:cxn ang="0">
                    <a:pos x="connsiteX0-1" y="connsiteY0-2"/>
                  </a:cxn>
                  <a:cxn ang="0">
                    <a:pos x="connsiteX1-3" y="connsiteY1-4"/>
                  </a:cxn>
                  <a:cxn ang="0">
                    <a:pos x="connsiteX2-5" y="connsiteY2-6"/>
                  </a:cxn>
                  <a:cxn ang="0">
                    <a:pos x="connsiteX3-7" y="connsiteY3-8"/>
                  </a:cxn>
                </a:cxnLst>
                <a:rect l="l" t="t" r="r" b="b"/>
                <a:pathLst>
                  <a:path w="532672" h="613400">
                    <a:moveTo>
                      <a:pt x="424420" y="613400"/>
                    </a:moveTo>
                    <a:lnTo>
                      <a:pt x="0" y="4372"/>
                    </a:lnTo>
                    <a:lnTo>
                      <a:pt x="532672" y="0"/>
                    </a:lnTo>
                    <a:lnTo>
                      <a:pt x="424420" y="613400"/>
                    </a:lnTo>
                    <a:close/>
                  </a:path>
                </a:pathLst>
              </a:custGeom>
              <a:solidFill>
                <a:srgbClr val="C000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54857" tIns="54857" rIns="109712" bIns="54857" anchor="b"/>
              <a:lstStyle/>
              <a:p>
                <a:pPr algn="ctr" defTabSz="1217930">
                  <a:spcBef>
                    <a:spcPts val="840"/>
                  </a:spcBef>
                  <a:buClr>
                    <a:srgbClr val="C2C2C2">
                      <a:lumMod val="75000"/>
                    </a:srgbClr>
                  </a:buClr>
                  <a:buSzPct val="100000"/>
                </a:pPr>
                <a:r>
                  <a:rPr lang="en-US" sz="100" b="1" dirty="0">
                    <a:solidFill>
                      <a:srgbClr val="FFFFFF">
                        <a:alpha val="99000"/>
                      </a:srgbClr>
                    </a:solidFill>
                    <a:latin typeface="微软雅黑" panose="020B0503020204020204" pitchFamily="34" charset="-122"/>
                    <a:cs typeface="Segoe UI" panose="020B0502040204020203" pitchFamily="34" charset="0"/>
                  </a:rPr>
                  <a:t/>
                </a:r>
                <a:br>
                  <a:rPr lang="en-US" sz="100" b="1" dirty="0">
                    <a:solidFill>
                      <a:srgbClr val="FFFFFF">
                        <a:alpha val="99000"/>
                      </a:srgbClr>
                    </a:solidFill>
                    <a:latin typeface="微软雅黑" panose="020B0503020204020204" pitchFamily="34" charset="-122"/>
                    <a:cs typeface="Segoe UI" panose="020B0502040204020203" pitchFamily="34" charset="0"/>
                  </a:rPr>
                </a:br>
                <a:r>
                  <a:rPr lang="en-US" sz="100" b="1" noProof="1">
                    <a:solidFill>
                      <a:srgbClr val="FFFFFF">
                        <a:alpha val="99000"/>
                      </a:srgbClr>
                    </a:solidFill>
                    <a:latin typeface="微软雅黑" panose="020B0503020204020204" pitchFamily="34" charset="-122"/>
                    <a:cs typeface="Segoe UI" panose="020B0502040204020203" pitchFamily="34" charset="0"/>
                  </a:rPr>
                  <a:t> </a:t>
                </a:r>
              </a:p>
            </p:txBody>
          </p:sp>
          <p:sp>
            <p:nvSpPr>
              <p:cNvPr id="32" name="剪去同侧角的矩形 24"/>
              <p:cNvSpPr/>
              <p:nvPr/>
            </p:nvSpPr>
            <p:spPr bwMode="auto">
              <a:xfrm rot="5400000">
                <a:off x="1274926" y="1701833"/>
                <a:ext cx="554183" cy="685069"/>
              </a:xfrm>
              <a:prstGeom prst="snip2SameRect">
                <a:avLst>
                  <a:gd name="adj1" fmla="val 50000"/>
                  <a:gd name="adj2" fmla="val 0"/>
                </a:avLst>
              </a:prstGeom>
              <a:solidFill>
                <a:srgbClr val="E74C3C"/>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54857" tIns="54857" rIns="109712" bIns="54857" anchor="b"/>
              <a:lstStyle/>
              <a:p>
                <a:pPr algn="ctr" defTabSz="1217930">
                  <a:spcBef>
                    <a:spcPts val="840"/>
                  </a:spcBef>
                  <a:buClr>
                    <a:srgbClr val="C2C2C2">
                      <a:lumMod val="75000"/>
                    </a:srgbClr>
                  </a:buClr>
                  <a:buSzPct val="100000"/>
                </a:pPr>
                <a:r>
                  <a:rPr lang="en-US" sz="100" b="1" dirty="0">
                    <a:solidFill>
                      <a:srgbClr val="FFFFFF">
                        <a:alpha val="99000"/>
                      </a:srgbClr>
                    </a:solidFill>
                    <a:latin typeface="微软雅黑" panose="020B0503020204020204" pitchFamily="34" charset="-122"/>
                    <a:cs typeface="Segoe UI" panose="020B0502040204020203" pitchFamily="34" charset="0"/>
                  </a:rPr>
                  <a:t/>
                </a:r>
                <a:br>
                  <a:rPr lang="en-US" sz="100" b="1" dirty="0">
                    <a:solidFill>
                      <a:srgbClr val="FFFFFF">
                        <a:alpha val="99000"/>
                      </a:srgbClr>
                    </a:solidFill>
                    <a:latin typeface="微软雅黑" panose="020B0503020204020204" pitchFamily="34" charset="-122"/>
                    <a:cs typeface="Segoe UI" panose="020B0502040204020203" pitchFamily="34" charset="0"/>
                  </a:rPr>
                </a:br>
                <a:r>
                  <a:rPr lang="en-US" sz="100" b="1" noProof="1">
                    <a:solidFill>
                      <a:srgbClr val="FFFFFF">
                        <a:alpha val="99000"/>
                      </a:srgbClr>
                    </a:solidFill>
                    <a:latin typeface="微软雅黑" panose="020B0503020204020204" pitchFamily="34" charset="-122"/>
                    <a:cs typeface="Segoe UI" panose="020B0502040204020203" pitchFamily="34" charset="0"/>
                  </a:rPr>
                  <a:t> </a:t>
                </a:r>
              </a:p>
            </p:txBody>
          </p:sp>
        </p:grpSp>
        <p:sp>
          <p:nvSpPr>
            <p:cNvPr id="28684" name="文本占位符 1"/>
            <p:cNvSpPr txBox="1">
              <a:spLocks noChangeArrowheads="1"/>
            </p:cNvSpPr>
            <p:nvPr/>
          </p:nvSpPr>
          <p:spPr bwMode="auto">
            <a:xfrm>
              <a:off x="669412" y="1749521"/>
              <a:ext cx="360047" cy="543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9728" tIns="54864" rIns="109728" bIns="54864">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en-US" altLang="zh-CN" sz="2400">
                  <a:solidFill>
                    <a:schemeClr val="bg1"/>
                  </a:solidFill>
                  <a:latin typeface="微软雅黑" pitchFamily="34" charset="-122"/>
                </a:rPr>
                <a:t>2</a:t>
              </a:r>
            </a:p>
          </p:txBody>
        </p:sp>
      </p:grpSp>
      <p:grpSp>
        <p:nvGrpSpPr>
          <p:cNvPr id="28685" name="组合 34"/>
          <p:cNvGrpSpPr>
            <a:grpSpLocks/>
          </p:cNvGrpSpPr>
          <p:nvPr/>
        </p:nvGrpSpPr>
        <p:grpSpPr bwMode="auto">
          <a:xfrm>
            <a:off x="625475" y="4438650"/>
            <a:ext cx="4695825" cy="704850"/>
            <a:chOff x="624195" y="1609573"/>
            <a:chExt cx="5545350" cy="859849"/>
          </a:xfrm>
        </p:grpSpPr>
        <p:grpSp>
          <p:nvGrpSpPr>
            <p:cNvPr id="28686" name="组合 35"/>
            <p:cNvGrpSpPr>
              <a:grpSpLocks/>
            </p:cNvGrpSpPr>
            <p:nvPr/>
          </p:nvGrpSpPr>
          <p:grpSpPr bwMode="auto">
            <a:xfrm>
              <a:off x="751503" y="1609573"/>
              <a:ext cx="5418042" cy="859849"/>
              <a:chOff x="5292100" y="1549493"/>
              <a:chExt cx="2003509" cy="984647"/>
            </a:xfrm>
          </p:grpSpPr>
          <p:sp>
            <p:nvSpPr>
              <p:cNvPr id="41" name="Freeform 6"/>
              <p:cNvSpPr/>
              <p:nvPr/>
            </p:nvSpPr>
            <p:spPr bwMode="ltGray">
              <a:xfrm rot="16200000">
                <a:off x="5801563" y="1040093"/>
                <a:ext cx="984647" cy="2003446"/>
              </a:xfrm>
              <a:prstGeom prst="trapezoid">
                <a:avLst>
                  <a:gd name="adj" fmla="val 0"/>
                </a:avLst>
              </a:prstGeom>
              <a:solidFill>
                <a:srgbClr val="00A0E8"/>
              </a:solidFill>
              <a:ln w="3175" cap="flat" cmpd="sng" algn="ctr">
                <a:noFill/>
                <a:prstDash val="solid"/>
              </a:ln>
              <a:effectLst/>
            </p:spPr>
            <p:txBody>
              <a:bodyPr anchor="ctr"/>
              <a:lstStyle/>
              <a:p>
                <a:pPr algn="ctr" fontAlgn="auto">
                  <a:lnSpc>
                    <a:spcPct val="120000"/>
                  </a:lnSpc>
                  <a:spcBef>
                    <a:spcPts val="0"/>
                  </a:spcBef>
                  <a:spcAft>
                    <a:spcPts val="0"/>
                  </a:spcAft>
                  <a:buFontTx/>
                  <a:buNone/>
                  <a:defRPr/>
                </a:pPr>
                <a:endParaRPr lang="zh-CN" altLang="en-US" sz="100" b="1" kern="0" dirty="0">
                  <a:solidFill>
                    <a:srgbClr val="F9F9F9"/>
                  </a:solidFill>
                  <a:latin typeface="微软雅黑" panose="020B0503020204020204" pitchFamily="34" charset="-122"/>
                </a:endParaRPr>
              </a:p>
            </p:txBody>
          </p:sp>
          <p:sp>
            <p:nvSpPr>
              <p:cNvPr id="28688" name="文本占位符 1"/>
              <p:cNvSpPr txBox="1">
                <a:spLocks noChangeArrowheads="1"/>
              </p:cNvSpPr>
              <p:nvPr/>
            </p:nvSpPr>
            <p:spPr bwMode="auto">
              <a:xfrm>
                <a:off x="5472810" y="1743837"/>
                <a:ext cx="1777374" cy="622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9728" tIns="54864" rIns="109728" bIns="54864">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en-US" sz="2400">
                    <a:solidFill>
                      <a:schemeClr val="bg1"/>
                    </a:solidFill>
                    <a:latin typeface="微软雅黑" pitchFamily="34" charset="-122"/>
                  </a:rPr>
                  <a:t>公正：摈弃偏见，客观决策</a:t>
                </a:r>
              </a:p>
            </p:txBody>
          </p:sp>
        </p:grpSp>
        <p:grpSp>
          <p:nvGrpSpPr>
            <p:cNvPr id="37" name="组合 36"/>
            <p:cNvGrpSpPr/>
            <p:nvPr/>
          </p:nvGrpSpPr>
          <p:grpSpPr>
            <a:xfrm>
              <a:off x="624195" y="1808303"/>
              <a:ext cx="559307" cy="515254"/>
              <a:chOff x="1209483" y="1767276"/>
              <a:chExt cx="685069" cy="631109"/>
            </a:xfrm>
          </p:grpSpPr>
          <p:sp>
            <p:nvSpPr>
              <p:cNvPr id="39" name="Rectangle 57"/>
              <p:cNvSpPr/>
              <p:nvPr/>
            </p:nvSpPr>
            <p:spPr bwMode="auto">
              <a:xfrm rot="5400000" flipH="1">
                <a:off x="1243474" y="2276453"/>
                <a:ext cx="87946" cy="155917"/>
              </a:xfrm>
              <a:custGeom>
                <a:avLst/>
                <a:gdLst>
                  <a:gd name="connsiteX0" fmla="*/ 0 w 1333466"/>
                  <a:gd name="connsiteY0" fmla="*/ 900000 h 900000"/>
                  <a:gd name="connsiteX1" fmla="*/ 531333 w 1333466"/>
                  <a:gd name="connsiteY1" fmla="*/ 0 h 900000"/>
                  <a:gd name="connsiteX2" fmla="*/ 1333466 w 1333466"/>
                  <a:gd name="connsiteY2" fmla="*/ 0 h 900000"/>
                  <a:gd name="connsiteX3" fmla="*/ 802133 w 1333466"/>
                  <a:gd name="connsiteY3" fmla="*/ 900000 h 900000"/>
                  <a:gd name="connsiteX4" fmla="*/ 0 w 1333466"/>
                  <a:gd name="connsiteY4" fmla="*/ 900000 h 900000"/>
                  <a:gd name="connsiteX0-1" fmla="*/ 270800 w 802133"/>
                  <a:gd name="connsiteY0-2" fmla="*/ 900000 h 900000"/>
                  <a:gd name="connsiteX1-3" fmla="*/ 0 w 802133"/>
                  <a:gd name="connsiteY1-4" fmla="*/ 0 h 900000"/>
                  <a:gd name="connsiteX2-5" fmla="*/ 802133 w 802133"/>
                  <a:gd name="connsiteY2-6" fmla="*/ 0 h 900000"/>
                  <a:gd name="connsiteX3-7" fmla="*/ 270800 w 802133"/>
                  <a:gd name="connsiteY3-8" fmla="*/ 900000 h 900000"/>
                  <a:gd name="connsiteX0-9" fmla="*/ 693881 w 802133"/>
                  <a:gd name="connsiteY0-10" fmla="*/ 613400 h 613400"/>
                  <a:gd name="connsiteX1-11" fmla="*/ 0 w 802133"/>
                  <a:gd name="connsiteY1-12" fmla="*/ 0 h 613400"/>
                  <a:gd name="connsiteX2-13" fmla="*/ 802133 w 802133"/>
                  <a:gd name="connsiteY2-14" fmla="*/ 0 h 613400"/>
                  <a:gd name="connsiteX3-15" fmla="*/ 693881 w 802133"/>
                  <a:gd name="connsiteY3-16" fmla="*/ 613400 h 613400"/>
                  <a:gd name="connsiteX0-17" fmla="*/ 270800 w 379052"/>
                  <a:gd name="connsiteY0-18" fmla="*/ 613400 h 613400"/>
                  <a:gd name="connsiteX1-19" fmla="*/ 0 w 379052"/>
                  <a:gd name="connsiteY1-20" fmla="*/ 40946 h 613400"/>
                  <a:gd name="connsiteX2-21" fmla="*/ 379052 w 379052"/>
                  <a:gd name="connsiteY2-22" fmla="*/ 0 h 613400"/>
                  <a:gd name="connsiteX3-23" fmla="*/ 270800 w 379052"/>
                  <a:gd name="connsiteY3-24" fmla="*/ 613400 h 613400"/>
                  <a:gd name="connsiteX0-25" fmla="*/ 387843 w 496095"/>
                  <a:gd name="connsiteY0-26" fmla="*/ 613400 h 613400"/>
                  <a:gd name="connsiteX1-27" fmla="*/ 0 w 496095"/>
                  <a:gd name="connsiteY1-28" fmla="*/ 11685 h 613400"/>
                  <a:gd name="connsiteX2-29" fmla="*/ 496095 w 496095"/>
                  <a:gd name="connsiteY2-30" fmla="*/ 0 h 613400"/>
                  <a:gd name="connsiteX3-31" fmla="*/ 387843 w 496095"/>
                  <a:gd name="connsiteY3-32" fmla="*/ 613400 h 613400"/>
                  <a:gd name="connsiteX0-33" fmla="*/ 424420 w 532672"/>
                  <a:gd name="connsiteY0-34" fmla="*/ 613400 h 613400"/>
                  <a:gd name="connsiteX1-35" fmla="*/ 0 w 532672"/>
                  <a:gd name="connsiteY1-36" fmla="*/ 4372 h 613400"/>
                  <a:gd name="connsiteX2-37" fmla="*/ 532672 w 532672"/>
                  <a:gd name="connsiteY2-38" fmla="*/ 0 h 613400"/>
                  <a:gd name="connsiteX3-39" fmla="*/ 424420 w 532672"/>
                  <a:gd name="connsiteY3-40" fmla="*/ 613400 h 613400"/>
                </a:gdLst>
                <a:ahLst/>
                <a:cxnLst>
                  <a:cxn ang="0">
                    <a:pos x="connsiteX0-1" y="connsiteY0-2"/>
                  </a:cxn>
                  <a:cxn ang="0">
                    <a:pos x="connsiteX1-3" y="connsiteY1-4"/>
                  </a:cxn>
                  <a:cxn ang="0">
                    <a:pos x="connsiteX2-5" y="connsiteY2-6"/>
                  </a:cxn>
                  <a:cxn ang="0">
                    <a:pos x="connsiteX3-7" y="connsiteY3-8"/>
                  </a:cxn>
                </a:cxnLst>
                <a:rect l="l" t="t" r="r" b="b"/>
                <a:pathLst>
                  <a:path w="532672" h="613400">
                    <a:moveTo>
                      <a:pt x="424420" y="613400"/>
                    </a:moveTo>
                    <a:lnTo>
                      <a:pt x="0" y="4372"/>
                    </a:lnTo>
                    <a:lnTo>
                      <a:pt x="532672" y="0"/>
                    </a:lnTo>
                    <a:lnTo>
                      <a:pt x="424420" y="613400"/>
                    </a:lnTo>
                    <a:close/>
                  </a:path>
                </a:pathLst>
              </a:custGeom>
              <a:solidFill>
                <a:srgbClr val="C000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54857" tIns="54857" rIns="109712" bIns="54857" anchor="b"/>
              <a:lstStyle/>
              <a:p>
                <a:pPr algn="ctr" defTabSz="1217930">
                  <a:spcBef>
                    <a:spcPts val="840"/>
                  </a:spcBef>
                  <a:buClr>
                    <a:srgbClr val="C2C2C2">
                      <a:lumMod val="75000"/>
                    </a:srgbClr>
                  </a:buClr>
                  <a:buSzPct val="100000"/>
                </a:pPr>
                <a:r>
                  <a:rPr lang="en-US" sz="100" b="1" dirty="0">
                    <a:solidFill>
                      <a:srgbClr val="FFFFFF">
                        <a:alpha val="99000"/>
                      </a:srgbClr>
                    </a:solidFill>
                    <a:latin typeface="微软雅黑" panose="020B0503020204020204" pitchFamily="34" charset="-122"/>
                    <a:cs typeface="Segoe UI" panose="020B0502040204020203" pitchFamily="34" charset="0"/>
                  </a:rPr>
                  <a:t/>
                </a:r>
                <a:br>
                  <a:rPr lang="en-US" sz="100" b="1" dirty="0">
                    <a:solidFill>
                      <a:srgbClr val="FFFFFF">
                        <a:alpha val="99000"/>
                      </a:srgbClr>
                    </a:solidFill>
                    <a:latin typeface="微软雅黑" panose="020B0503020204020204" pitchFamily="34" charset="-122"/>
                    <a:cs typeface="Segoe UI" panose="020B0502040204020203" pitchFamily="34" charset="0"/>
                  </a:rPr>
                </a:br>
                <a:r>
                  <a:rPr lang="en-US" sz="100" b="1" noProof="1">
                    <a:solidFill>
                      <a:srgbClr val="FFFFFF">
                        <a:alpha val="99000"/>
                      </a:srgbClr>
                    </a:solidFill>
                    <a:latin typeface="微软雅黑" panose="020B0503020204020204" pitchFamily="34" charset="-122"/>
                    <a:cs typeface="Segoe UI" panose="020B0502040204020203" pitchFamily="34" charset="0"/>
                  </a:rPr>
                  <a:t> </a:t>
                </a:r>
              </a:p>
            </p:txBody>
          </p:sp>
          <p:sp>
            <p:nvSpPr>
              <p:cNvPr id="40" name="剪去同侧角的矩形 24"/>
              <p:cNvSpPr/>
              <p:nvPr/>
            </p:nvSpPr>
            <p:spPr bwMode="auto">
              <a:xfrm rot="5400000">
                <a:off x="1274926" y="1701833"/>
                <a:ext cx="554183" cy="685069"/>
              </a:xfrm>
              <a:prstGeom prst="snip2SameRect">
                <a:avLst>
                  <a:gd name="adj1" fmla="val 50000"/>
                  <a:gd name="adj2" fmla="val 0"/>
                </a:avLst>
              </a:prstGeom>
              <a:solidFill>
                <a:srgbClr val="E74C3C"/>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54857" tIns="54857" rIns="109712" bIns="54857" anchor="b"/>
              <a:lstStyle/>
              <a:p>
                <a:pPr algn="ctr" defTabSz="1217930">
                  <a:spcBef>
                    <a:spcPts val="840"/>
                  </a:spcBef>
                  <a:buClr>
                    <a:srgbClr val="C2C2C2">
                      <a:lumMod val="75000"/>
                    </a:srgbClr>
                  </a:buClr>
                  <a:buSzPct val="100000"/>
                </a:pPr>
                <a:r>
                  <a:rPr lang="en-US" sz="100" b="1" dirty="0">
                    <a:solidFill>
                      <a:srgbClr val="FFFFFF">
                        <a:alpha val="99000"/>
                      </a:srgbClr>
                    </a:solidFill>
                    <a:latin typeface="微软雅黑" panose="020B0503020204020204" pitchFamily="34" charset="-122"/>
                    <a:cs typeface="Segoe UI" panose="020B0502040204020203" pitchFamily="34" charset="0"/>
                  </a:rPr>
                  <a:t/>
                </a:r>
                <a:br>
                  <a:rPr lang="en-US" sz="100" b="1" dirty="0">
                    <a:solidFill>
                      <a:srgbClr val="FFFFFF">
                        <a:alpha val="99000"/>
                      </a:srgbClr>
                    </a:solidFill>
                    <a:latin typeface="微软雅黑" panose="020B0503020204020204" pitchFamily="34" charset="-122"/>
                    <a:cs typeface="Segoe UI" panose="020B0502040204020203" pitchFamily="34" charset="0"/>
                  </a:rPr>
                </a:br>
                <a:r>
                  <a:rPr lang="en-US" sz="100" b="1" noProof="1">
                    <a:solidFill>
                      <a:srgbClr val="FFFFFF">
                        <a:alpha val="99000"/>
                      </a:srgbClr>
                    </a:solidFill>
                    <a:latin typeface="微软雅黑" panose="020B0503020204020204" pitchFamily="34" charset="-122"/>
                    <a:cs typeface="Segoe UI" panose="020B0502040204020203" pitchFamily="34" charset="0"/>
                  </a:rPr>
                  <a:t> </a:t>
                </a:r>
              </a:p>
            </p:txBody>
          </p:sp>
        </p:grpSp>
        <p:sp>
          <p:nvSpPr>
            <p:cNvPr id="28690" name="文本占位符 1"/>
            <p:cNvSpPr txBox="1">
              <a:spLocks noChangeArrowheads="1"/>
            </p:cNvSpPr>
            <p:nvPr/>
          </p:nvSpPr>
          <p:spPr bwMode="auto">
            <a:xfrm>
              <a:off x="669412" y="1749521"/>
              <a:ext cx="360047" cy="543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9728" tIns="54864" rIns="109728" bIns="54864">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en-US" altLang="zh-CN" sz="2400">
                  <a:solidFill>
                    <a:schemeClr val="bg1"/>
                  </a:solidFill>
                  <a:latin typeface="微软雅黑" pitchFamily="34" charset="-122"/>
                </a:rPr>
                <a:t>3</a:t>
              </a:r>
            </a:p>
          </p:txBody>
        </p:sp>
      </p:grpSp>
      <p:grpSp>
        <p:nvGrpSpPr>
          <p:cNvPr id="28691" name="组合 42"/>
          <p:cNvGrpSpPr>
            <a:grpSpLocks/>
          </p:cNvGrpSpPr>
          <p:nvPr/>
        </p:nvGrpSpPr>
        <p:grpSpPr bwMode="auto">
          <a:xfrm>
            <a:off x="625475" y="5345113"/>
            <a:ext cx="4695825" cy="755650"/>
            <a:chOff x="624195" y="1609573"/>
            <a:chExt cx="5545350" cy="859849"/>
          </a:xfrm>
        </p:grpSpPr>
        <p:grpSp>
          <p:nvGrpSpPr>
            <p:cNvPr id="28692" name="组合 43"/>
            <p:cNvGrpSpPr>
              <a:grpSpLocks/>
            </p:cNvGrpSpPr>
            <p:nvPr/>
          </p:nvGrpSpPr>
          <p:grpSpPr bwMode="auto">
            <a:xfrm>
              <a:off x="751503" y="1609573"/>
              <a:ext cx="5418042" cy="859849"/>
              <a:chOff x="5292100" y="1549493"/>
              <a:chExt cx="2003509" cy="984647"/>
            </a:xfrm>
          </p:grpSpPr>
          <p:sp>
            <p:nvSpPr>
              <p:cNvPr id="49" name="Freeform 6"/>
              <p:cNvSpPr/>
              <p:nvPr/>
            </p:nvSpPr>
            <p:spPr bwMode="ltGray">
              <a:xfrm rot="16200000">
                <a:off x="5801563" y="1040093"/>
                <a:ext cx="984647" cy="2003446"/>
              </a:xfrm>
              <a:prstGeom prst="trapezoid">
                <a:avLst>
                  <a:gd name="adj" fmla="val 0"/>
                </a:avLst>
              </a:prstGeom>
              <a:solidFill>
                <a:srgbClr val="00A0E8"/>
              </a:solidFill>
              <a:ln w="3175" cap="flat" cmpd="sng" algn="ctr">
                <a:noFill/>
                <a:prstDash val="solid"/>
              </a:ln>
              <a:effectLst/>
            </p:spPr>
            <p:txBody>
              <a:bodyPr anchor="ctr"/>
              <a:lstStyle/>
              <a:p>
                <a:pPr algn="ctr" fontAlgn="auto">
                  <a:lnSpc>
                    <a:spcPct val="120000"/>
                  </a:lnSpc>
                  <a:spcBef>
                    <a:spcPts val="0"/>
                  </a:spcBef>
                  <a:spcAft>
                    <a:spcPts val="0"/>
                  </a:spcAft>
                  <a:buFontTx/>
                  <a:buNone/>
                  <a:defRPr/>
                </a:pPr>
                <a:endParaRPr lang="zh-CN" altLang="en-US" sz="100" b="1" kern="0" dirty="0">
                  <a:solidFill>
                    <a:srgbClr val="F9F9F9"/>
                  </a:solidFill>
                  <a:latin typeface="微软雅黑" panose="020B0503020204020204" pitchFamily="34" charset="-122"/>
                </a:endParaRPr>
              </a:p>
            </p:txBody>
          </p:sp>
          <p:sp>
            <p:nvSpPr>
              <p:cNvPr id="28694" name="文本占位符 1"/>
              <p:cNvSpPr txBox="1">
                <a:spLocks noChangeArrowheads="1"/>
              </p:cNvSpPr>
              <p:nvPr/>
            </p:nvSpPr>
            <p:spPr bwMode="auto">
              <a:xfrm>
                <a:off x="5472809" y="1743837"/>
                <a:ext cx="1777374" cy="622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9728" tIns="54864" rIns="109728" bIns="54864">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en-US" sz="2400">
                    <a:solidFill>
                      <a:schemeClr val="bg1"/>
                    </a:solidFill>
                    <a:latin typeface="微软雅黑" pitchFamily="34" charset="-122"/>
                  </a:rPr>
                  <a:t>诚实：实事求是，坚守诚信</a:t>
                </a:r>
              </a:p>
            </p:txBody>
          </p:sp>
        </p:grpSp>
        <p:grpSp>
          <p:nvGrpSpPr>
            <p:cNvPr id="45" name="组合 44"/>
            <p:cNvGrpSpPr/>
            <p:nvPr/>
          </p:nvGrpSpPr>
          <p:grpSpPr>
            <a:xfrm>
              <a:off x="624195" y="1808303"/>
              <a:ext cx="559307" cy="515254"/>
              <a:chOff x="1209483" y="1767276"/>
              <a:chExt cx="685069" cy="631109"/>
            </a:xfrm>
          </p:grpSpPr>
          <p:sp>
            <p:nvSpPr>
              <p:cNvPr id="47" name="Rectangle 57"/>
              <p:cNvSpPr/>
              <p:nvPr/>
            </p:nvSpPr>
            <p:spPr bwMode="auto">
              <a:xfrm rot="5400000" flipH="1">
                <a:off x="1243474" y="2276453"/>
                <a:ext cx="87946" cy="155917"/>
              </a:xfrm>
              <a:custGeom>
                <a:avLst/>
                <a:gdLst>
                  <a:gd name="connsiteX0" fmla="*/ 0 w 1333466"/>
                  <a:gd name="connsiteY0" fmla="*/ 900000 h 900000"/>
                  <a:gd name="connsiteX1" fmla="*/ 531333 w 1333466"/>
                  <a:gd name="connsiteY1" fmla="*/ 0 h 900000"/>
                  <a:gd name="connsiteX2" fmla="*/ 1333466 w 1333466"/>
                  <a:gd name="connsiteY2" fmla="*/ 0 h 900000"/>
                  <a:gd name="connsiteX3" fmla="*/ 802133 w 1333466"/>
                  <a:gd name="connsiteY3" fmla="*/ 900000 h 900000"/>
                  <a:gd name="connsiteX4" fmla="*/ 0 w 1333466"/>
                  <a:gd name="connsiteY4" fmla="*/ 900000 h 900000"/>
                  <a:gd name="connsiteX0-1" fmla="*/ 270800 w 802133"/>
                  <a:gd name="connsiteY0-2" fmla="*/ 900000 h 900000"/>
                  <a:gd name="connsiteX1-3" fmla="*/ 0 w 802133"/>
                  <a:gd name="connsiteY1-4" fmla="*/ 0 h 900000"/>
                  <a:gd name="connsiteX2-5" fmla="*/ 802133 w 802133"/>
                  <a:gd name="connsiteY2-6" fmla="*/ 0 h 900000"/>
                  <a:gd name="connsiteX3-7" fmla="*/ 270800 w 802133"/>
                  <a:gd name="connsiteY3-8" fmla="*/ 900000 h 900000"/>
                  <a:gd name="connsiteX0-9" fmla="*/ 693881 w 802133"/>
                  <a:gd name="connsiteY0-10" fmla="*/ 613400 h 613400"/>
                  <a:gd name="connsiteX1-11" fmla="*/ 0 w 802133"/>
                  <a:gd name="connsiteY1-12" fmla="*/ 0 h 613400"/>
                  <a:gd name="connsiteX2-13" fmla="*/ 802133 w 802133"/>
                  <a:gd name="connsiteY2-14" fmla="*/ 0 h 613400"/>
                  <a:gd name="connsiteX3-15" fmla="*/ 693881 w 802133"/>
                  <a:gd name="connsiteY3-16" fmla="*/ 613400 h 613400"/>
                  <a:gd name="connsiteX0-17" fmla="*/ 270800 w 379052"/>
                  <a:gd name="connsiteY0-18" fmla="*/ 613400 h 613400"/>
                  <a:gd name="connsiteX1-19" fmla="*/ 0 w 379052"/>
                  <a:gd name="connsiteY1-20" fmla="*/ 40946 h 613400"/>
                  <a:gd name="connsiteX2-21" fmla="*/ 379052 w 379052"/>
                  <a:gd name="connsiteY2-22" fmla="*/ 0 h 613400"/>
                  <a:gd name="connsiteX3-23" fmla="*/ 270800 w 379052"/>
                  <a:gd name="connsiteY3-24" fmla="*/ 613400 h 613400"/>
                  <a:gd name="connsiteX0-25" fmla="*/ 387843 w 496095"/>
                  <a:gd name="connsiteY0-26" fmla="*/ 613400 h 613400"/>
                  <a:gd name="connsiteX1-27" fmla="*/ 0 w 496095"/>
                  <a:gd name="connsiteY1-28" fmla="*/ 11685 h 613400"/>
                  <a:gd name="connsiteX2-29" fmla="*/ 496095 w 496095"/>
                  <a:gd name="connsiteY2-30" fmla="*/ 0 h 613400"/>
                  <a:gd name="connsiteX3-31" fmla="*/ 387843 w 496095"/>
                  <a:gd name="connsiteY3-32" fmla="*/ 613400 h 613400"/>
                  <a:gd name="connsiteX0-33" fmla="*/ 424420 w 532672"/>
                  <a:gd name="connsiteY0-34" fmla="*/ 613400 h 613400"/>
                  <a:gd name="connsiteX1-35" fmla="*/ 0 w 532672"/>
                  <a:gd name="connsiteY1-36" fmla="*/ 4372 h 613400"/>
                  <a:gd name="connsiteX2-37" fmla="*/ 532672 w 532672"/>
                  <a:gd name="connsiteY2-38" fmla="*/ 0 h 613400"/>
                  <a:gd name="connsiteX3-39" fmla="*/ 424420 w 532672"/>
                  <a:gd name="connsiteY3-40" fmla="*/ 613400 h 613400"/>
                </a:gdLst>
                <a:ahLst/>
                <a:cxnLst>
                  <a:cxn ang="0">
                    <a:pos x="connsiteX0-1" y="connsiteY0-2"/>
                  </a:cxn>
                  <a:cxn ang="0">
                    <a:pos x="connsiteX1-3" y="connsiteY1-4"/>
                  </a:cxn>
                  <a:cxn ang="0">
                    <a:pos x="connsiteX2-5" y="connsiteY2-6"/>
                  </a:cxn>
                  <a:cxn ang="0">
                    <a:pos x="connsiteX3-7" y="connsiteY3-8"/>
                  </a:cxn>
                </a:cxnLst>
                <a:rect l="l" t="t" r="r" b="b"/>
                <a:pathLst>
                  <a:path w="532672" h="613400">
                    <a:moveTo>
                      <a:pt x="424420" y="613400"/>
                    </a:moveTo>
                    <a:lnTo>
                      <a:pt x="0" y="4372"/>
                    </a:lnTo>
                    <a:lnTo>
                      <a:pt x="532672" y="0"/>
                    </a:lnTo>
                    <a:lnTo>
                      <a:pt x="424420" y="613400"/>
                    </a:lnTo>
                    <a:close/>
                  </a:path>
                </a:pathLst>
              </a:custGeom>
              <a:solidFill>
                <a:srgbClr val="C000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54857" tIns="54857" rIns="109712" bIns="54857" anchor="b"/>
              <a:lstStyle/>
              <a:p>
                <a:pPr algn="ctr" defTabSz="1217930">
                  <a:spcBef>
                    <a:spcPts val="840"/>
                  </a:spcBef>
                  <a:buClr>
                    <a:srgbClr val="C2C2C2">
                      <a:lumMod val="75000"/>
                    </a:srgbClr>
                  </a:buClr>
                  <a:buSzPct val="100000"/>
                </a:pPr>
                <a:r>
                  <a:rPr lang="en-US" sz="100" b="1" dirty="0">
                    <a:solidFill>
                      <a:srgbClr val="FFFFFF">
                        <a:alpha val="99000"/>
                      </a:srgbClr>
                    </a:solidFill>
                    <a:latin typeface="微软雅黑" panose="020B0503020204020204" pitchFamily="34" charset="-122"/>
                    <a:cs typeface="Segoe UI" panose="020B0502040204020203" pitchFamily="34" charset="0"/>
                  </a:rPr>
                  <a:t/>
                </a:r>
                <a:br>
                  <a:rPr lang="en-US" sz="100" b="1" dirty="0">
                    <a:solidFill>
                      <a:srgbClr val="FFFFFF">
                        <a:alpha val="99000"/>
                      </a:srgbClr>
                    </a:solidFill>
                    <a:latin typeface="微软雅黑" panose="020B0503020204020204" pitchFamily="34" charset="-122"/>
                    <a:cs typeface="Segoe UI" panose="020B0502040204020203" pitchFamily="34" charset="0"/>
                  </a:rPr>
                </a:br>
                <a:r>
                  <a:rPr lang="en-US" sz="100" b="1" noProof="1">
                    <a:solidFill>
                      <a:srgbClr val="FFFFFF">
                        <a:alpha val="99000"/>
                      </a:srgbClr>
                    </a:solidFill>
                    <a:latin typeface="微软雅黑" panose="020B0503020204020204" pitchFamily="34" charset="-122"/>
                    <a:cs typeface="Segoe UI" panose="020B0502040204020203" pitchFamily="34" charset="0"/>
                  </a:rPr>
                  <a:t> </a:t>
                </a:r>
              </a:p>
            </p:txBody>
          </p:sp>
          <p:sp>
            <p:nvSpPr>
              <p:cNvPr id="48" name="剪去同侧角的矩形 24"/>
              <p:cNvSpPr/>
              <p:nvPr/>
            </p:nvSpPr>
            <p:spPr bwMode="auto">
              <a:xfrm rot="5400000">
                <a:off x="1274926" y="1701833"/>
                <a:ext cx="554183" cy="685069"/>
              </a:xfrm>
              <a:prstGeom prst="snip2SameRect">
                <a:avLst>
                  <a:gd name="adj1" fmla="val 50000"/>
                  <a:gd name="adj2" fmla="val 0"/>
                </a:avLst>
              </a:prstGeom>
              <a:solidFill>
                <a:srgbClr val="E74C3C"/>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54857" tIns="54857" rIns="109712" bIns="54857" anchor="b"/>
              <a:lstStyle/>
              <a:p>
                <a:pPr algn="ctr" defTabSz="1217930">
                  <a:spcBef>
                    <a:spcPts val="840"/>
                  </a:spcBef>
                  <a:buClr>
                    <a:srgbClr val="C2C2C2">
                      <a:lumMod val="75000"/>
                    </a:srgbClr>
                  </a:buClr>
                  <a:buSzPct val="100000"/>
                </a:pPr>
                <a:r>
                  <a:rPr lang="en-US" sz="100" b="1" dirty="0">
                    <a:solidFill>
                      <a:srgbClr val="FFFFFF">
                        <a:alpha val="99000"/>
                      </a:srgbClr>
                    </a:solidFill>
                    <a:latin typeface="微软雅黑" panose="020B0503020204020204" pitchFamily="34" charset="-122"/>
                    <a:cs typeface="Segoe UI" panose="020B0502040204020203" pitchFamily="34" charset="0"/>
                  </a:rPr>
                  <a:t/>
                </a:r>
                <a:br>
                  <a:rPr lang="en-US" sz="100" b="1" dirty="0">
                    <a:solidFill>
                      <a:srgbClr val="FFFFFF">
                        <a:alpha val="99000"/>
                      </a:srgbClr>
                    </a:solidFill>
                    <a:latin typeface="微软雅黑" panose="020B0503020204020204" pitchFamily="34" charset="-122"/>
                    <a:cs typeface="Segoe UI" panose="020B0502040204020203" pitchFamily="34" charset="0"/>
                  </a:rPr>
                </a:br>
                <a:r>
                  <a:rPr lang="en-US" sz="100" b="1" noProof="1">
                    <a:solidFill>
                      <a:srgbClr val="FFFFFF">
                        <a:alpha val="99000"/>
                      </a:srgbClr>
                    </a:solidFill>
                    <a:latin typeface="微软雅黑" panose="020B0503020204020204" pitchFamily="34" charset="-122"/>
                    <a:cs typeface="Segoe UI" panose="020B0502040204020203" pitchFamily="34" charset="0"/>
                  </a:rPr>
                  <a:t> </a:t>
                </a:r>
              </a:p>
            </p:txBody>
          </p:sp>
        </p:grpSp>
        <p:sp>
          <p:nvSpPr>
            <p:cNvPr id="28696" name="文本占位符 1"/>
            <p:cNvSpPr txBox="1">
              <a:spLocks noChangeArrowheads="1"/>
            </p:cNvSpPr>
            <p:nvPr/>
          </p:nvSpPr>
          <p:spPr bwMode="auto">
            <a:xfrm>
              <a:off x="669412" y="1749521"/>
              <a:ext cx="360047" cy="543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9728" tIns="54864" rIns="109728" bIns="54864">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en-US" altLang="zh-CN" sz="2400">
                  <a:solidFill>
                    <a:schemeClr val="bg1"/>
                  </a:solidFill>
                  <a:latin typeface="微软雅黑" pitchFamily="34" charset="-122"/>
                </a:rPr>
                <a:t>4</a:t>
              </a:r>
            </a:p>
          </p:txBody>
        </p:sp>
      </p:grpSp>
      <p:grpSp>
        <p:nvGrpSpPr>
          <p:cNvPr id="28697" name="组合 1"/>
          <p:cNvGrpSpPr>
            <a:grpSpLocks/>
          </p:cNvGrpSpPr>
          <p:nvPr/>
        </p:nvGrpSpPr>
        <p:grpSpPr bwMode="auto">
          <a:xfrm>
            <a:off x="6443663" y="2627313"/>
            <a:ext cx="2439987" cy="1570037"/>
            <a:chOff x="6458889" y="1712373"/>
            <a:chExt cx="2108301" cy="990130"/>
          </a:xfrm>
        </p:grpSpPr>
        <p:sp>
          <p:nvSpPr>
            <p:cNvPr id="51" name="Freeform 6"/>
            <p:cNvSpPr/>
            <p:nvPr/>
          </p:nvSpPr>
          <p:spPr bwMode="ltGray">
            <a:xfrm rot="16200000">
              <a:off x="7017974" y="1153288"/>
              <a:ext cx="990130" cy="2108301"/>
            </a:xfrm>
            <a:prstGeom prst="trapezoid">
              <a:avLst>
                <a:gd name="adj" fmla="val 0"/>
              </a:avLst>
            </a:prstGeom>
            <a:solidFill>
              <a:schemeClr val="accent6">
                <a:lumMod val="75000"/>
              </a:schemeClr>
            </a:solidFill>
            <a:ln w="3175" cap="flat" cmpd="sng" algn="ctr">
              <a:noFill/>
              <a:prstDash val="solid"/>
            </a:ln>
            <a:effectLst/>
          </p:spPr>
          <p:txBody>
            <a:bodyPr anchor="ctr"/>
            <a:lstStyle/>
            <a:p>
              <a:pPr algn="ctr" fontAlgn="auto">
                <a:lnSpc>
                  <a:spcPct val="120000"/>
                </a:lnSpc>
                <a:spcBef>
                  <a:spcPts val="0"/>
                </a:spcBef>
                <a:spcAft>
                  <a:spcPts val="0"/>
                </a:spcAft>
                <a:buFontTx/>
                <a:buNone/>
                <a:defRPr/>
              </a:pPr>
              <a:endParaRPr lang="zh-CN" altLang="en-US" sz="100" b="1" kern="0" dirty="0">
                <a:solidFill>
                  <a:srgbClr val="F9F9F9"/>
                </a:solidFill>
                <a:latin typeface="微软雅黑" panose="020B0503020204020204" pitchFamily="34" charset="-122"/>
              </a:endParaRPr>
            </a:p>
          </p:txBody>
        </p:sp>
        <p:sp>
          <p:nvSpPr>
            <p:cNvPr id="28699" name="文本占位符 1"/>
            <p:cNvSpPr txBox="1">
              <a:spLocks noChangeArrowheads="1"/>
            </p:cNvSpPr>
            <p:nvPr/>
          </p:nvSpPr>
          <p:spPr bwMode="auto">
            <a:xfrm>
              <a:off x="6520192" y="2060717"/>
              <a:ext cx="1985691" cy="28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9728" tIns="54864" rIns="109728" bIns="54864">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zh-CN" altLang="en-US" sz="2400">
                  <a:solidFill>
                    <a:schemeClr val="bg1"/>
                  </a:solidFill>
                  <a:latin typeface="微软雅黑" pitchFamily="34" charset="-122"/>
                </a:rPr>
                <a:t>遵守法律法规</a:t>
              </a:r>
            </a:p>
          </p:txBody>
        </p:sp>
      </p:grpSp>
      <p:grpSp>
        <p:nvGrpSpPr>
          <p:cNvPr id="28700" name="组合 52"/>
          <p:cNvGrpSpPr>
            <a:grpSpLocks/>
          </p:cNvGrpSpPr>
          <p:nvPr/>
        </p:nvGrpSpPr>
        <p:grpSpPr bwMode="auto">
          <a:xfrm>
            <a:off x="6443663" y="4438650"/>
            <a:ext cx="2439987" cy="1735138"/>
            <a:chOff x="6458889" y="1712373"/>
            <a:chExt cx="2108301" cy="990130"/>
          </a:xfrm>
        </p:grpSpPr>
        <p:sp>
          <p:nvSpPr>
            <p:cNvPr id="54" name="Freeform 6"/>
            <p:cNvSpPr/>
            <p:nvPr/>
          </p:nvSpPr>
          <p:spPr bwMode="ltGray">
            <a:xfrm rot="16200000">
              <a:off x="7017975" y="1153287"/>
              <a:ext cx="990130" cy="2108301"/>
            </a:xfrm>
            <a:prstGeom prst="trapezoid">
              <a:avLst>
                <a:gd name="adj" fmla="val 0"/>
              </a:avLst>
            </a:prstGeom>
            <a:solidFill>
              <a:schemeClr val="accent6">
                <a:lumMod val="75000"/>
              </a:schemeClr>
            </a:solidFill>
            <a:ln w="3175" cap="flat" cmpd="sng" algn="ctr">
              <a:noFill/>
              <a:prstDash val="solid"/>
            </a:ln>
            <a:effectLst/>
          </p:spPr>
          <p:txBody>
            <a:bodyPr anchor="ctr"/>
            <a:lstStyle/>
            <a:p>
              <a:pPr algn="ctr" fontAlgn="auto">
                <a:lnSpc>
                  <a:spcPct val="120000"/>
                </a:lnSpc>
                <a:spcBef>
                  <a:spcPts val="0"/>
                </a:spcBef>
                <a:spcAft>
                  <a:spcPts val="0"/>
                </a:spcAft>
                <a:buFontTx/>
                <a:buNone/>
                <a:defRPr/>
              </a:pPr>
              <a:endParaRPr lang="zh-CN" altLang="en-US" sz="100" b="1" kern="0" dirty="0">
                <a:solidFill>
                  <a:srgbClr val="F9F9F9"/>
                </a:solidFill>
                <a:latin typeface="微软雅黑" panose="020B0503020204020204" pitchFamily="34" charset="-122"/>
              </a:endParaRPr>
            </a:p>
          </p:txBody>
        </p:sp>
        <p:sp>
          <p:nvSpPr>
            <p:cNvPr id="28702" name="文本占位符 1"/>
            <p:cNvSpPr txBox="1">
              <a:spLocks noChangeArrowheads="1"/>
            </p:cNvSpPr>
            <p:nvPr/>
          </p:nvSpPr>
          <p:spPr bwMode="auto">
            <a:xfrm>
              <a:off x="6520192" y="2060717"/>
              <a:ext cx="1985691" cy="28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9728" tIns="54864" rIns="109728" bIns="54864">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zh-CN" altLang="en-US" sz="2400">
                  <a:solidFill>
                    <a:schemeClr val="bg1"/>
                  </a:solidFill>
                  <a:latin typeface="微软雅黑" pitchFamily="34" charset="-122"/>
                </a:rPr>
                <a:t>遵守组织规定和职业政策</a:t>
              </a:r>
            </a:p>
          </p:txBody>
        </p:sp>
      </p:grpSp>
      <p:sp>
        <p:nvSpPr>
          <p:cNvPr id="3" name="加号 2"/>
          <p:cNvSpPr/>
          <p:nvPr/>
        </p:nvSpPr>
        <p:spPr>
          <a:xfrm>
            <a:off x="5216525" y="3765550"/>
            <a:ext cx="1227138" cy="1225550"/>
          </a:xfrm>
          <a:prstGeom prst="mathPlus">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sz="135" noProof="1">
              <a:latin typeface="微软雅黑" panose="020B0503020204020204" pitchFamily="34" charset="-122"/>
            </a:endParaRPr>
          </a:p>
        </p:txBody>
      </p:sp>
      <p:sp>
        <p:nvSpPr>
          <p:cNvPr id="28704" name="文本框 1"/>
          <p:cNvSpPr txBox="1">
            <a:spLocks noChangeArrowheads="1"/>
          </p:cNvSpPr>
          <p:nvPr/>
        </p:nvSpPr>
        <p:spPr bwMode="auto">
          <a:xfrm>
            <a:off x="550068" y="879476"/>
            <a:ext cx="8391525" cy="161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110000"/>
              </a:lnSpc>
            </a:pPr>
            <a:r>
              <a:rPr lang="zh-CN" altLang="en-US" smtClean="0">
                <a:solidFill>
                  <a:srgbClr val="221E1F"/>
                </a:solidFill>
                <a:latin typeface="微软雅黑" pitchFamily="34" charset="-122"/>
                <a:sym typeface="微软雅黑" pitchFamily="34" charset="-122"/>
              </a:rPr>
              <a:t>软</a:t>
            </a:r>
            <a:r>
              <a:rPr lang="zh-CN" altLang="en-US" smtClean="0">
                <a:solidFill>
                  <a:srgbClr val="221E1F"/>
                </a:solidFill>
                <a:latin typeface="微软雅黑" pitchFamily="34" charset="-122"/>
                <a:sym typeface="微软雅黑" pitchFamily="34" charset="-122"/>
              </a:rPr>
              <a:t>考教材</a:t>
            </a:r>
            <a:r>
              <a:rPr lang="zh-CN" altLang="en-US" smtClean="0">
                <a:solidFill>
                  <a:srgbClr val="221E1F"/>
                </a:solidFill>
                <a:latin typeface="微软雅黑" pitchFamily="34" charset="-122"/>
                <a:sym typeface="微软雅黑" pitchFamily="34" charset="-122"/>
              </a:rPr>
              <a:t>有一章为</a:t>
            </a:r>
            <a:r>
              <a:rPr lang="en-US" altLang="zh-CN" smtClean="0">
                <a:solidFill>
                  <a:srgbClr val="221E1F"/>
                </a:solidFill>
                <a:latin typeface="微软雅黑" pitchFamily="34" charset="-122"/>
                <a:sym typeface="微软雅黑" pitchFamily="34" charset="-122"/>
              </a:rPr>
              <a:t>《</a:t>
            </a:r>
            <a:r>
              <a:rPr lang="zh-CN" altLang="en-US">
                <a:solidFill>
                  <a:srgbClr val="221E1F"/>
                </a:solidFill>
                <a:latin typeface="微软雅黑" pitchFamily="34" charset="-122"/>
                <a:sym typeface="微软雅黑" pitchFamily="34" charset="-122"/>
              </a:rPr>
              <a:t>道德与专业行为规范</a:t>
            </a:r>
            <a:r>
              <a:rPr lang="en-US" altLang="zh-CN">
                <a:solidFill>
                  <a:srgbClr val="221E1F"/>
                </a:solidFill>
                <a:latin typeface="微软雅黑" pitchFamily="34" charset="-122"/>
                <a:sym typeface="微软雅黑" pitchFamily="34" charset="-122"/>
              </a:rPr>
              <a:t>》</a:t>
            </a:r>
            <a:r>
              <a:rPr lang="zh-CN" altLang="en-US">
                <a:solidFill>
                  <a:srgbClr val="221E1F"/>
                </a:solidFill>
                <a:latin typeface="微软雅黑" pitchFamily="34" charset="-122"/>
                <a:sym typeface="微软雅黑" pitchFamily="34" charset="-122"/>
              </a:rPr>
              <a:t>，为项目管理专业人员增强了信心并帮助个人做出明智的决策，尤其是在面对被要求违背正直诚信或价值观的困境时。全球项目管理业界定义的最重要的价值观是</a:t>
            </a:r>
            <a:r>
              <a:rPr lang="zh-CN" altLang="en-US" b="1">
                <a:solidFill>
                  <a:srgbClr val="C00000"/>
                </a:solidFill>
                <a:latin typeface="微软雅黑" pitchFamily="34" charset="-122"/>
                <a:sym typeface="微软雅黑" pitchFamily="34" charset="-122"/>
              </a:rPr>
              <a:t>责任、尊重、公正和诚实</a:t>
            </a:r>
            <a:r>
              <a:rPr lang="zh-CN" altLang="en-US">
                <a:solidFill>
                  <a:srgbClr val="221E1F"/>
                </a:solidFill>
                <a:latin typeface="微软雅黑" pitchFamily="34" charset="-122"/>
                <a:sym typeface="微软雅黑" pitchFamily="34" charset="-122"/>
              </a:rPr>
              <a:t>。</a:t>
            </a:r>
            <a:r>
              <a:rPr lang="en-US" altLang="zh-CN">
                <a:solidFill>
                  <a:srgbClr val="221E1F"/>
                </a:solidFill>
                <a:latin typeface="微软雅黑" pitchFamily="34" charset="-122"/>
                <a:sym typeface="微软雅黑" pitchFamily="34" charset="-122"/>
              </a:rPr>
              <a:t>《</a:t>
            </a:r>
            <a:r>
              <a:rPr lang="zh-CN" altLang="en-US">
                <a:solidFill>
                  <a:srgbClr val="221E1F"/>
                </a:solidFill>
                <a:latin typeface="微软雅黑" pitchFamily="34" charset="-122"/>
                <a:sym typeface="微软雅黑" pitchFamily="34" charset="-122"/>
              </a:rPr>
              <a:t>道德与专业行为规范</a:t>
            </a:r>
            <a:r>
              <a:rPr lang="en-US" altLang="zh-CN">
                <a:solidFill>
                  <a:srgbClr val="221E1F"/>
                </a:solidFill>
                <a:latin typeface="微软雅黑" pitchFamily="34" charset="-122"/>
                <a:sym typeface="微软雅黑" pitchFamily="34" charset="-122"/>
              </a:rPr>
              <a:t>》</a:t>
            </a:r>
            <a:r>
              <a:rPr lang="zh-CN" altLang="en-US">
                <a:solidFill>
                  <a:srgbClr val="221E1F"/>
                </a:solidFill>
                <a:latin typeface="微软雅黑" pitchFamily="34" charset="-122"/>
                <a:sym typeface="微软雅黑" pitchFamily="34" charset="-122"/>
              </a:rPr>
              <a:t>确立了这四个价值观的基础地位</a:t>
            </a:r>
            <a:r>
              <a:rPr lang="zh-CN" altLang="en-US" smtClean="0">
                <a:solidFill>
                  <a:srgbClr val="221E1F"/>
                </a:solidFill>
                <a:latin typeface="微软雅黑" pitchFamily="34" charset="-122"/>
                <a:sym typeface="微软雅黑" pitchFamily="34" charset="-122"/>
              </a:rPr>
              <a:t>。</a:t>
            </a:r>
            <a:endParaRPr lang="en-US" altLang="zh-CN" smtClean="0">
              <a:solidFill>
                <a:srgbClr val="221E1F"/>
              </a:solidFill>
              <a:latin typeface="微软雅黑" pitchFamily="34" charset="-122"/>
              <a:sym typeface="微软雅黑" pitchFamily="34" charset="-122"/>
            </a:endParaRPr>
          </a:p>
          <a:p>
            <a:pPr>
              <a:lnSpc>
                <a:spcPct val="110000"/>
              </a:lnSpc>
            </a:pPr>
            <a:r>
              <a:rPr lang="en-US" altLang="zh-CN" smtClean="0">
                <a:solidFill>
                  <a:srgbClr val="221E1F"/>
                </a:solidFill>
                <a:latin typeface="微软雅黑" pitchFamily="34" charset="-122"/>
                <a:sym typeface="微软雅黑" pitchFamily="34" charset="-122"/>
              </a:rPr>
              <a:t>《</a:t>
            </a:r>
            <a:r>
              <a:rPr lang="zh-CN" altLang="en-US">
                <a:solidFill>
                  <a:srgbClr val="221E1F"/>
                </a:solidFill>
                <a:latin typeface="微软雅黑" pitchFamily="34" charset="-122"/>
                <a:sym typeface="微软雅黑" pitchFamily="34" charset="-122"/>
              </a:rPr>
              <a:t>道德与专业行为规范</a:t>
            </a:r>
            <a:r>
              <a:rPr lang="en-US" altLang="zh-CN">
                <a:solidFill>
                  <a:srgbClr val="221E1F"/>
                </a:solidFill>
                <a:latin typeface="微软雅黑" pitchFamily="34" charset="-122"/>
                <a:sym typeface="微软雅黑" pitchFamily="34" charset="-122"/>
              </a:rPr>
              <a:t>》</a:t>
            </a:r>
            <a:r>
              <a:rPr lang="zh-CN" altLang="en-US" b="1" u="sng">
                <a:solidFill>
                  <a:srgbClr val="C00000"/>
                </a:solidFill>
                <a:latin typeface="微软雅黑" pitchFamily="34" charset="-122"/>
                <a:sym typeface="微软雅黑" pitchFamily="34" charset="-122"/>
              </a:rPr>
              <a:t>包括：期望标准和强制标准</a:t>
            </a:r>
            <a:r>
              <a:rPr lang="zh-CN" altLang="en-US" b="1">
                <a:solidFill>
                  <a:srgbClr val="221E1F"/>
                </a:solidFill>
                <a:latin typeface="微软雅黑" pitchFamily="34" charset="-122"/>
                <a:sym typeface="微软雅黑" pitchFamily="34" charset="-122"/>
              </a:rPr>
              <a:t>。</a:t>
            </a:r>
            <a:endParaRPr lang="zh-CN" altLang="en-US" b="1"/>
          </a:p>
        </p:txBody>
      </p:sp>
      <p:sp>
        <p:nvSpPr>
          <p:cNvPr id="28705" name="Rectangle 2"/>
          <p:cNvSpPr>
            <a:spLocks noGrp="1" noChangeArrowheads="1"/>
          </p:cNvSpPr>
          <p:nvPr>
            <p:ph type="title"/>
          </p:nvPr>
        </p:nvSpPr>
        <p:spPr>
          <a:xfrm>
            <a:off x="492125" y="452438"/>
            <a:ext cx="8940800" cy="563562"/>
          </a:xfrm>
        </p:spPr>
        <p:txBody>
          <a:bodyPr/>
          <a:lstStyle/>
          <a:p>
            <a:pPr eaLnBrk="1" hangingPunct="1"/>
            <a:r>
              <a:rPr altLang="zh-CN" smtClean="0">
                <a:latin typeface="Georgia" pitchFamily="18" charset="0"/>
                <a:ea typeface="微软雅黑" pitchFamily="34" charset="-122"/>
              </a:rPr>
              <a:t>道德与专业行为规范</a:t>
            </a: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5478" y="2498725"/>
            <a:ext cx="8051169" cy="38867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02905" y="2310545"/>
            <a:ext cx="5391806" cy="40438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anim calcmode="lin" valueType="num">
                                      <p:cBhvr additive="base">
                                        <p:cTn id="7" dur="500" fill="hold"/>
                                        <p:tgtEl>
                                          <p:spTgt spid="4098"/>
                                        </p:tgtEl>
                                        <p:attrNameLst>
                                          <p:attrName>ppt_x</p:attrName>
                                        </p:attrNameLst>
                                      </p:cBhvr>
                                      <p:tavLst>
                                        <p:tav tm="0">
                                          <p:val>
                                            <p:strVal val="#ppt_x"/>
                                          </p:val>
                                        </p:tav>
                                        <p:tav tm="100000">
                                          <p:val>
                                            <p:strVal val="#ppt_x"/>
                                          </p:val>
                                        </p:tav>
                                      </p:tavLst>
                                    </p:anim>
                                    <p:anim calcmode="lin" valueType="num">
                                      <p:cBhvr additive="base">
                                        <p:cTn id="8" dur="500" fill="hold"/>
                                        <p:tgtEl>
                                          <p:spTgt spid="409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099"/>
                                        </p:tgtEl>
                                        <p:attrNameLst>
                                          <p:attrName>style.visibility</p:attrName>
                                        </p:attrNameLst>
                                      </p:cBhvr>
                                      <p:to>
                                        <p:strVal val="visible"/>
                                      </p:to>
                                    </p:set>
                                    <p:anim calcmode="lin" valueType="num">
                                      <p:cBhvr additive="base">
                                        <p:cTn id="13" dur="500" fill="hold"/>
                                        <p:tgtEl>
                                          <p:spTgt spid="4099"/>
                                        </p:tgtEl>
                                        <p:attrNameLst>
                                          <p:attrName>ppt_x</p:attrName>
                                        </p:attrNameLst>
                                      </p:cBhvr>
                                      <p:tavLst>
                                        <p:tav tm="0">
                                          <p:val>
                                            <p:strVal val="#ppt_x"/>
                                          </p:val>
                                        </p:tav>
                                        <p:tav tm="100000">
                                          <p:val>
                                            <p:strVal val="#ppt_x"/>
                                          </p:val>
                                        </p:tav>
                                      </p:tavLst>
                                    </p:anim>
                                    <p:anim calcmode="lin" valueType="num">
                                      <p:cBhvr additive="base">
                                        <p:cTn id="14" dur="500" fill="hold"/>
                                        <p:tgtEl>
                                          <p:spTgt spid="409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格 5"/>
          <p:cNvGraphicFramePr>
            <a:graphicFrameLocks noGrp="1"/>
          </p:cNvGraphicFramePr>
          <p:nvPr/>
        </p:nvGraphicFramePr>
        <p:xfrm>
          <a:off x="3048000" y="3541713"/>
          <a:ext cx="6096000" cy="167640"/>
        </p:xfrm>
        <a:graphic>
          <a:graphicData uri="http://schemas.openxmlformats.org/drawingml/2006/table">
            <a:tbl>
              <a:tblPr/>
              <a:tblGrid>
                <a:gridCol w="6096000"/>
              </a:tblGrid>
              <a:tr h="160337">
                <a:tc>
                  <a:txBody>
                    <a:bodyPr/>
                    <a:lstStyle/>
                    <a:p>
                      <a:pPr algn="ctr">
                        <a:spcAft>
                          <a:spcPts val="0"/>
                        </a:spcAft>
                      </a:pPr>
                      <a:endParaRPr lang="zh-CN" sz="1100" kern="100">
                        <a:solidFill>
                          <a:srgbClr val="000000"/>
                        </a:solidFill>
                        <a:latin typeface="Arial" panose="020B0604020202020204"/>
                        <a:ea typeface="Arial" panose="020B0604020202020204"/>
                        <a:cs typeface="宋体" panose="02010600030101010101" pitchFamily="2" charset="-122"/>
                      </a:endParaRPr>
                    </a:p>
                  </a:txBody>
                  <a:tcPr marL="0" marR="0" marT="0" marB="0" anchor="ctr">
                    <a:lnL>
                      <a:noFill/>
                    </a:lnL>
                    <a:lnR>
                      <a:noFill/>
                    </a:lnR>
                    <a:lnT>
                      <a:noFill/>
                    </a:lnT>
                    <a:lnB>
                      <a:noFill/>
                    </a:lnB>
                  </a:tcPr>
                </a:tc>
              </a:tr>
            </a:tbl>
          </a:graphicData>
        </a:graphic>
      </p:graphicFrame>
      <p:graphicFrame>
        <p:nvGraphicFramePr>
          <p:cNvPr id="7" name="表格 6"/>
          <p:cNvGraphicFramePr>
            <a:graphicFrameLocks noGrp="1"/>
          </p:cNvGraphicFramePr>
          <p:nvPr/>
        </p:nvGraphicFramePr>
        <p:xfrm>
          <a:off x="3048000" y="3541713"/>
          <a:ext cx="6096000" cy="167640"/>
        </p:xfrm>
        <a:graphic>
          <a:graphicData uri="http://schemas.openxmlformats.org/drawingml/2006/table">
            <a:tbl>
              <a:tblPr/>
              <a:tblGrid>
                <a:gridCol w="6096000"/>
              </a:tblGrid>
              <a:tr h="160337">
                <a:tc>
                  <a:txBody>
                    <a:bodyPr/>
                    <a:lstStyle/>
                    <a:p>
                      <a:pPr algn="ctr">
                        <a:spcAft>
                          <a:spcPts val="0"/>
                        </a:spcAft>
                      </a:pPr>
                      <a:endParaRPr lang="zh-CN" sz="1100" kern="100">
                        <a:solidFill>
                          <a:srgbClr val="000000"/>
                        </a:solidFill>
                        <a:latin typeface="Arial" panose="020B0604020202020204"/>
                        <a:ea typeface="Arial" panose="020B0604020202020204"/>
                        <a:cs typeface="宋体" panose="02010600030101010101" pitchFamily="2" charset="-122"/>
                      </a:endParaRPr>
                    </a:p>
                  </a:txBody>
                  <a:tcPr marL="0" marR="0" marT="0" marB="0" anchor="ctr">
                    <a:lnL>
                      <a:noFill/>
                    </a:lnL>
                    <a:lnR>
                      <a:noFill/>
                    </a:lnR>
                    <a:lnT>
                      <a:noFill/>
                    </a:lnT>
                    <a:lnB>
                      <a:noFill/>
                    </a:lnB>
                  </a:tcPr>
                </a:tc>
              </a:tr>
            </a:tbl>
          </a:graphicData>
        </a:graphic>
      </p:graphicFrame>
      <p:graphicFrame>
        <p:nvGraphicFramePr>
          <p:cNvPr id="8" name="表格 7"/>
          <p:cNvGraphicFramePr>
            <a:graphicFrameLocks noGrp="1"/>
          </p:cNvGraphicFramePr>
          <p:nvPr/>
        </p:nvGraphicFramePr>
        <p:xfrm>
          <a:off x="3048000" y="3541713"/>
          <a:ext cx="6096000" cy="167640"/>
        </p:xfrm>
        <a:graphic>
          <a:graphicData uri="http://schemas.openxmlformats.org/drawingml/2006/table">
            <a:tbl>
              <a:tblPr/>
              <a:tblGrid>
                <a:gridCol w="6096000"/>
              </a:tblGrid>
              <a:tr h="160337">
                <a:tc>
                  <a:txBody>
                    <a:bodyPr/>
                    <a:lstStyle/>
                    <a:p>
                      <a:pPr algn="ctr">
                        <a:spcAft>
                          <a:spcPts val="0"/>
                        </a:spcAft>
                      </a:pPr>
                      <a:endParaRPr lang="zh-CN" sz="1100" kern="100">
                        <a:solidFill>
                          <a:srgbClr val="000000"/>
                        </a:solidFill>
                        <a:latin typeface="Arial" panose="020B0604020202020204"/>
                        <a:ea typeface="Arial" panose="020B0604020202020204"/>
                        <a:cs typeface="宋体" panose="02010600030101010101" pitchFamily="2" charset="-122"/>
                      </a:endParaRPr>
                    </a:p>
                  </a:txBody>
                  <a:tcPr marL="0" marR="0" marT="0" marB="0" anchor="ctr">
                    <a:lnL>
                      <a:noFill/>
                    </a:lnL>
                    <a:lnR>
                      <a:noFill/>
                    </a:lnR>
                    <a:lnT>
                      <a:noFill/>
                    </a:lnT>
                    <a:lnB>
                      <a:noFill/>
                    </a:lnB>
                  </a:tcPr>
                </a:tc>
              </a:tr>
            </a:tbl>
          </a:graphicData>
        </a:graphic>
      </p:graphicFrame>
      <p:graphicFrame>
        <p:nvGraphicFramePr>
          <p:cNvPr id="9" name="表格 8"/>
          <p:cNvGraphicFramePr>
            <a:graphicFrameLocks noGrp="1"/>
          </p:cNvGraphicFramePr>
          <p:nvPr/>
        </p:nvGraphicFramePr>
        <p:xfrm>
          <a:off x="3048000" y="3541713"/>
          <a:ext cx="6096000" cy="167640"/>
        </p:xfrm>
        <a:graphic>
          <a:graphicData uri="http://schemas.openxmlformats.org/drawingml/2006/table">
            <a:tbl>
              <a:tblPr/>
              <a:tblGrid>
                <a:gridCol w="6096000"/>
              </a:tblGrid>
              <a:tr h="160337">
                <a:tc>
                  <a:txBody>
                    <a:bodyPr/>
                    <a:lstStyle/>
                    <a:p>
                      <a:pPr algn="ctr">
                        <a:spcAft>
                          <a:spcPts val="0"/>
                        </a:spcAft>
                      </a:pPr>
                      <a:endParaRPr lang="zh-CN" sz="1100" kern="100">
                        <a:solidFill>
                          <a:srgbClr val="FF3300"/>
                        </a:solidFill>
                        <a:latin typeface="Arial" panose="020B0604020202020204"/>
                        <a:ea typeface="Arial" panose="020B0604020202020204"/>
                        <a:cs typeface="宋体" panose="02010600030101010101" pitchFamily="2" charset="-122"/>
                      </a:endParaRPr>
                    </a:p>
                  </a:txBody>
                  <a:tcPr marL="0" marR="0" marT="0" marB="0" anchor="ctr">
                    <a:lnL>
                      <a:noFill/>
                    </a:lnL>
                    <a:lnR>
                      <a:noFill/>
                    </a:lnR>
                    <a:lnT>
                      <a:noFill/>
                    </a:lnT>
                    <a:lnB>
                      <a:noFill/>
                    </a:lnB>
                  </a:tcPr>
                </a:tc>
              </a:tr>
            </a:tbl>
          </a:graphicData>
        </a:graphic>
      </p:graphicFrame>
      <p:graphicFrame>
        <p:nvGraphicFramePr>
          <p:cNvPr id="10" name="表格 9"/>
          <p:cNvGraphicFramePr>
            <a:graphicFrameLocks noGrp="1"/>
          </p:cNvGraphicFramePr>
          <p:nvPr/>
        </p:nvGraphicFramePr>
        <p:xfrm>
          <a:off x="3048000" y="3541713"/>
          <a:ext cx="6096000" cy="167640"/>
        </p:xfrm>
        <a:graphic>
          <a:graphicData uri="http://schemas.openxmlformats.org/drawingml/2006/table">
            <a:tbl>
              <a:tblPr/>
              <a:tblGrid>
                <a:gridCol w="6096000"/>
              </a:tblGrid>
              <a:tr h="160337">
                <a:tc>
                  <a:txBody>
                    <a:bodyPr/>
                    <a:lstStyle/>
                    <a:p>
                      <a:pPr algn="ctr">
                        <a:spcAft>
                          <a:spcPts val="0"/>
                        </a:spcAft>
                      </a:pPr>
                      <a:endParaRPr lang="zh-CN" sz="1100" kern="100">
                        <a:solidFill>
                          <a:srgbClr val="FF3300"/>
                        </a:solidFill>
                        <a:latin typeface="Arial" panose="020B0604020202020204"/>
                        <a:ea typeface="Arial" panose="020B0604020202020204"/>
                        <a:cs typeface="宋体" panose="02010600030101010101" pitchFamily="2" charset="-122"/>
                      </a:endParaRPr>
                    </a:p>
                  </a:txBody>
                  <a:tcPr marL="0" marR="0" marT="0" marB="0" anchor="ctr">
                    <a:lnL>
                      <a:noFill/>
                    </a:lnL>
                    <a:lnR>
                      <a:noFill/>
                    </a:lnR>
                    <a:lnT>
                      <a:noFill/>
                    </a:lnT>
                    <a:lnB>
                      <a:noFill/>
                    </a:lnB>
                  </a:tcPr>
                </a:tc>
              </a:tr>
            </a:tbl>
          </a:graphicData>
        </a:graphic>
      </p:graphicFrame>
      <p:graphicFrame>
        <p:nvGraphicFramePr>
          <p:cNvPr id="11" name="表格 10"/>
          <p:cNvGraphicFramePr>
            <a:graphicFrameLocks noGrp="1"/>
          </p:cNvGraphicFramePr>
          <p:nvPr/>
        </p:nvGraphicFramePr>
        <p:xfrm>
          <a:off x="3048000" y="3541713"/>
          <a:ext cx="6096000" cy="167640"/>
        </p:xfrm>
        <a:graphic>
          <a:graphicData uri="http://schemas.openxmlformats.org/drawingml/2006/table">
            <a:tbl>
              <a:tblPr/>
              <a:tblGrid>
                <a:gridCol w="6096000"/>
              </a:tblGrid>
              <a:tr h="160337">
                <a:tc>
                  <a:txBody>
                    <a:bodyPr/>
                    <a:lstStyle/>
                    <a:p>
                      <a:pPr algn="ctr">
                        <a:spcAft>
                          <a:spcPts val="0"/>
                        </a:spcAft>
                      </a:pPr>
                      <a:endParaRPr lang="zh-CN" sz="1100" kern="100">
                        <a:solidFill>
                          <a:srgbClr val="FF3300"/>
                        </a:solidFill>
                        <a:latin typeface="Arial" panose="020B0604020202020204"/>
                        <a:ea typeface="Arial" panose="020B0604020202020204"/>
                        <a:cs typeface="宋体" panose="02010600030101010101" pitchFamily="2" charset="-122"/>
                      </a:endParaRPr>
                    </a:p>
                  </a:txBody>
                  <a:tcPr marL="0" marR="0" marT="0" marB="0" anchor="ctr">
                    <a:lnL>
                      <a:noFill/>
                    </a:lnL>
                    <a:lnR>
                      <a:noFill/>
                    </a:lnR>
                    <a:lnT>
                      <a:noFill/>
                    </a:lnT>
                    <a:lnB>
                      <a:noFill/>
                    </a:lnB>
                  </a:tcPr>
                </a:tc>
              </a:tr>
            </a:tbl>
          </a:graphicData>
        </a:graphic>
      </p:graphicFrame>
      <p:graphicFrame>
        <p:nvGraphicFramePr>
          <p:cNvPr id="12" name="表格 11"/>
          <p:cNvGraphicFramePr>
            <a:graphicFrameLocks noGrp="1"/>
          </p:cNvGraphicFramePr>
          <p:nvPr/>
        </p:nvGraphicFramePr>
        <p:xfrm>
          <a:off x="3048000" y="3541713"/>
          <a:ext cx="6096000" cy="167640"/>
        </p:xfrm>
        <a:graphic>
          <a:graphicData uri="http://schemas.openxmlformats.org/drawingml/2006/table">
            <a:tbl>
              <a:tblPr/>
              <a:tblGrid>
                <a:gridCol w="6096000"/>
              </a:tblGrid>
              <a:tr h="160337">
                <a:tc>
                  <a:txBody>
                    <a:bodyPr/>
                    <a:lstStyle/>
                    <a:p>
                      <a:pPr algn="ctr">
                        <a:spcAft>
                          <a:spcPts val="0"/>
                        </a:spcAft>
                      </a:pPr>
                      <a:endParaRPr lang="en-US" sz="1100" kern="100">
                        <a:solidFill>
                          <a:srgbClr val="FF3300"/>
                        </a:solidFill>
                        <a:latin typeface="Arial" panose="020B0604020202020204"/>
                        <a:ea typeface="Arial" panose="020B0604020202020204"/>
                        <a:cs typeface="宋体" panose="02010600030101010101" pitchFamily="2" charset="-122"/>
                      </a:endParaRPr>
                    </a:p>
                  </a:txBody>
                  <a:tcPr marL="0" marR="0" marT="0" marB="0" anchor="ctr">
                    <a:lnL>
                      <a:noFill/>
                    </a:lnL>
                    <a:lnR>
                      <a:noFill/>
                    </a:lnR>
                    <a:lnT>
                      <a:noFill/>
                    </a:lnT>
                    <a:lnB>
                      <a:noFill/>
                    </a:lnB>
                  </a:tcPr>
                </a:tc>
              </a:tr>
            </a:tbl>
          </a:graphicData>
        </a:graphic>
      </p:graphicFrame>
      <p:graphicFrame>
        <p:nvGraphicFramePr>
          <p:cNvPr id="13" name="表格 12"/>
          <p:cNvGraphicFramePr>
            <a:graphicFrameLocks noGrp="1"/>
          </p:cNvGraphicFramePr>
          <p:nvPr/>
        </p:nvGraphicFramePr>
        <p:xfrm>
          <a:off x="3048000" y="3567113"/>
          <a:ext cx="6096000" cy="106680"/>
        </p:xfrm>
        <a:graphic>
          <a:graphicData uri="http://schemas.openxmlformats.org/drawingml/2006/table">
            <a:tbl>
              <a:tblPr/>
              <a:tblGrid>
                <a:gridCol w="6096000"/>
              </a:tblGrid>
              <a:tr h="106362">
                <a:tc>
                  <a:txBody>
                    <a:bodyPr/>
                    <a:lstStyle/>
                    <a:p>
                      <a:pPr marL="342900" lvl="0" indent="-342900" algn="just">
                        <a:spcAft>
                          <a:spcPts val="0"/>
                        </a:spcAft>
                        <a:buFont typeface="Wingdings" panose="05000000000000000000"/>
                        <a:buChar char=""/>
                        <a:tabLst>
                          <a:tab pos="266700" algn="l"/>
                        </a:tabLst>
                      </a:pPr>
                      <a:endParaRPr lang="zh-CN" sz="700" kern="100">
                        <a:solidFill>
                          <a:srgbClr val="FFFFFF"/>
                        </a:solidFill>
                        <a:latin typeface="Arial" panose="020B0604020202020204"/>
                        <a:ea typeface="Arial" panose="020B0604020202020204"/>
                        <a:cs typeface="宋体" panose="02010600030101010101" pitchFamily="2" charset="-122"/>
                      </a:endParaRPr>
                    </a:p>
                  </a:txBody>
                  <a:tcPr marL="0" marR="0" marT="0" marB="0" anchor="ctr">
                    <a:lnL>
                      <a:noFill/>
                    </a:lnL>
                    <a:lnR>
                      <a:noFill/>
                    </a:lnR>
                    <a:lnT>
                      <a:noFill/>
                    </a:lnT>
                    <a:lnB>
                      <a:noFill/>
                    </a:lnB>
                  </a:tcPr>
                </a:tc>
              </a:tr>
            </a:tbl>
          </a:graphicData>
        </a:graphic>
      </p:graphicFrame>
      <p:graphicFrame>
        <p:nvGraphicFramePr>
          <p:cNvPr id="14" name="表格 13"/>
          <p:cNvGraphicFramePr>
            <a:graphicFrameLocks noGrp="1"/>
          </p:cNvGraphicFramePr>
          <p:nvPr/>
        </p:nvGraphicFramePr>
        <p:xfrm>
          <a:off x="3048000" y="3567113"/>
          <a:ext cx="6096000" cy="106680"/>
        </p:xfrm>
        <a:graphic>
          <a:graphicData uri="http://schemas.openxmlformats.org/drawingml/2006/table">
            <a:tbl>
              <a:tblPr/>
              <a:tblGrid>
                <a:gridCol w="6096000"/>
              </a:tblGrid>
              <a:tr h="106362">
                <a:tc>
                  <a:txBody>
                    <a:bodyPr/>
                    <a:lstStyle/>
                    <a:p>
                      <a:pPr marL="342900" lvl="0" indent="-342900" algn="just">
                        <a:spcAft>
                          <a:spcPts val="0"/>
                        </a:spcAft>
                        <a:buFont typeface="Wingdings" panose="05000000000000000000"/>
                        <a:buChar char=""/>
                        <a:tabLst>
                          <a:tab pos="266700" algn="l"/>
                        </a:tabLst>
                      </a:pPr>
                      <a:endParaRPr lang="zh-CN" sz="700" kern="100">
                        <a:solidFill>
                          <a:srgbClr val="FFFFFF"/>
                        </a:solidFill>
                        <a:latin typeface="Arial" panose="020B0604020202020204"/>
                        <a:ea typeface="Arial" panose="020B0604020202020204"/>
                        <a:cs typeface="宋体" panose="02010600030101010101" pitchFamily="2" charset="-122"/>
                      </a:endParaRPr>
                    </a:p>
                  </a:txBody>
                  <a:tcPr marL="0" marR="0" marT="0" marB="0" anchor="ctr">
                    <a:lnL>
                      <a:noFill/>
                    </a:lnL>
                    <a:lnR>
                      <a:noFill/>
                    </a:lnR>
                    <a:lnT>
                      <a:noFill/>
                    </a:lnT>
                    <a:lnB>
                      <a:noFill/>
                    </a:lnB>
                  </a:tcPr>
                </a:tc>
              </a:tr>
            </a:tbl>
          </a:graphicData>
        </a:graphic>
      </p:graphicFrame>
      <p:graphicFrame>
        <p:nvGraphicFramePr>
          <p:cNvPr id="15" name="表格 14"/>
          <p:cNvGraphicFramePr>
            <a:graphicFrameLocks noGrp="1"/>
          </p:cNvGraphicFramePr>
          <p:nvPr/>
        </p:nvGraphicFramePr>
        <p:xfrm>
          <a:off x="3048000" y="3567113"/>
          <a:ext cx="6096000" cy="106680"/>
        </p:xfrm>
        <a:graphic>
          <a:graphicData uri="http://schemas.openxmlformats.org/drawingml/2006/table">
            <a:tbl>
              <a:tblPr/>
              <a:tblGrid>
                <a:gridCol w="6096000"/>
              </a:tblGrid>
              <a:tr h="106362">
                <a:tc>
                  <a:txBody>
                    <a:bodyPr/>
                    <a:lstStyle/>
                    <a:p>
                      <a:pPr marL="342900" lvl="0" indent="-342900" algn="just">
                        <a:spcAft>
                          <a:spcPts val="0"/>
                        </a:spcAft>
                        <a:buFont typeface="Wingdings" panose="05000000000000000000"/>
                        <a:buChar char=""/>
                        <a:tabLst>
                          <a:tab pos="266700" algn="l"/>
                        </a:tabLst>
                      </a:pPr>
                      <a:endParaRPr lang="zh-CN" sz="700" kern="100">
                        <a:solidFill>
                          <a:srgbClr val="FFFFFF"/>
                        </a:solidFill>
                        <a:latin typeface="Arial" panose="020B0604020202020204"/>
                        <a:ea typeface="Arial" panose="020B0604020202020204"/>
                        <a:cs typeface="宋体" panose="02010600030101010101" pitchFamily="2" charset="-122"/>
                      </a:endParaRPr>
                    </a:p>
                  </a:txBody>
                  <a:tcPr marL="0" marR="0" marT="0" marB="0" anchor="ctr">
                    <a:lnL>
                      <a:noFill/>
                    </a:lnL>
                    <a:lnR>
                      <a:noFill/>
                    </a:lnR>
                    <a:lnT>
                      <a:noFill/>
                    </a:lnT>
                    <a:lnB>
                      <a:noFill/>
                    </a:lnB>
                  </a:tcPr>
                </a:tc>
              </a:tr>
            </a:tbl>
          </a:graphicData>
        </a:graphic>
      </p:graphicFrame>
      <p:graphicFrame>
        <p:nvGraphicFramePr>
          <p:cNvPr id="16" name="表格 15"/>
          <p:cNvGraphicFramePr>
            <a:graphicFrameLocks noGrp="1"/>
          </p:cNvGraphicFramePr>
          <p:nvPr/>
        </p:nvGraphicFramePr>
        <p:xfrm>
          <a:off x="3048000" y="3567113"/>
          <a:ext cx="6096000" cy="106680"/>
        </p:xfrm>
        <a:graphic>
          <a:graphicData uri="http://schemas.openxmlformats.org/drawingml/2006/table">
            <a:tbl>
              <a:tblPr/>
              <a:tblGrid>
                <a:gridCol w="6096000"/>
              </a:tblGrid>
              <a:tr h="106362">
                <a:tc>
                  <a:txBody>
                    <a:bodyPr/>
                    <a:lstStyle/>
                    <a:p>
                      <a:pPr marL="342900" lvl="0" indent="-342900" algn="just">
                        <a:spcAft>
                          <a:spcPts val="0"/>
                        </a:spcAft>
                        <a:buFont typeface="Wingdings" panose="05000000000000000000"/>
                        <a:buChar char=""/>
                        <a:tabLst>
                          <a:tab pos="266700" algn="l"/>
                        </a:tabLst>
                      </a:pPr>
                      <a:endParaRPr lang="zh-CN" sz="700" kern="100">
                        <a:solidFill>
                          <a:srgbClr val="FFFFFF"/>
                        </a:solidFill>
                        <a:latin typeface="Arial" panose="020B0604020202020204"/>
                        <a:ea typeface="Arial" panose="020B0604020202020204"/>
                        <a:cs typeface="宋体" panose="02010600030101010101" pitchFamily="2" charset="-122"/>
                      </a:endParaRPr>
                    </a:p>
                  </a:txBody>
                  <a:tcPr marL="0" marR="0" marT="0" marB="0" anchor="ctr">
                    <a:lnL>
                      <a:noFill/>
                    </a:lnL>
                    <a:lnR>
                      <a:noFill/>
                    </a:lnR>
                    <a:lnT>
                      <a:noFill/>
                    </a:lnT>
                    <a:lnB>
                      <a:noFill/>
                    </a:lnB>
                  </a:tcPr>
                </a:tc>
              </a:tr>
            </a:tbl>
          </a:graphicData>
        </a:graphic>
      </p:graphicFrame>
      <p:graphicFrame>
        <p:nvGraphicFramePr>
          <p:cNvPr id="17" name="表格 16"/>
          <p:cNvGraphicFramePr>
            <a:graphicFrameLocks noGrp="1"/>
          </p:cNvGraphicFramePr>
          <p:nvPr/>
        </p:nvGraphicFramePr>
        <p:xfrm>
          <a:off x="3048000" y="3541713"/>
          <a:ext cx="6096000" cy="167640"/>
        </p:xfrm>
        <a:graphic>
          <a:graphicData uri="http://schemas.openxmlformats.org/drawingml/2006/table">
            <a:tbl>
              <a:tblPr/>
              <a:tblGrid>
                <a:gridCol w="6096000"/>
              </a:tblGrid>
              <a:tr h="160337">
                <a:tc>
                  <a:txBody>
                    <a:bodyPr/>
                    <a:lstStyle/>
                    <a:p>
                      <a:pPr algn="ctr">
                        <a:spcAft>
                          <a:spcPts val="0"/>
                        </a:spcAft>
                      </a:pPr>
                      <a:endParaRPr lang="zh-CN" sz="1100" kern="100">
                        <a:latin typeface="Times New Roman" panose="02020603050405020304"/>
                        <a:ea typeface="宋体" panose="02010600030101010101" pitchFamily="2" charset="-122"/>
                      </a:endParaRPr>
                    </a:p>
                  </a:txBody>
                  <a:tcPr marL="0" marR="0" marT="0" marB="0" anchor="ctr">
                    <a:lnL>
                      <a:noFill/>
                    </a:lnL>
                    <a:lnR>
                      <a:noFill/>
                    </a:lnR>
                    <a:lnT>
                      <a:noFill/>
                    </a:lnT>
                    <a:lnB>
                      <a:noFill/>
                    </a:lnB>
                  </a:tcPr>
                </a:tc>
              </a:tr>
            </a:tbl>
          </a:graphicData>
        </a:graphic>
      </p:graphicFrame>
      <p:graphicFrame>
        <p:nvGraphicFramePr>
          <p:cNvPr id="18" name="表格 17"/>
          <p:cNvGraphicFramePr>
            <a:graphicFrameLocks noGrp="1"/>
          </p:cNvGraphicFramePr>
          <p:nvPr/>
        </p:nvGraphicFramePr>
        <p:xfrm>
          <a:off x="3048000" y="3541713"/>
          <a:ext cx="6096000" cy="167640"/>
        </p:xfrm>
        <a:graphic>
          <a:graphicData uri="http://schemas.openxmlformats.org/drawingml/2006/table">
            <a:tbl>
              <a:tblPr/>
              <a:tblGrid>
                <a:gridCol w="6096000"/>
              </a:tblGrid>
              <a:tr h="160337">
                <a:tc>
                  <a:txBody>
                    <a:bodyPr/>
                    <a:lstStyle/>
                    <a:p>
                      <a:pPr algn="ctr">
                        <a:spcAft>
                          <a:spcPts val="0"/>
                        </a:spcAft>
                      </a:pPr>
                      <a:endParaRPr lang="zh-CN" sz="1100" kern="100">
                        <a:latin typeface="Times New Roman" panose="02020603050405020304"/>
                        <a:ea typeface="宋体" panose="02010600030101010101" pitchFamily="2" charset="-122"/>
                      </a:endParaRPr>
                    </a:p>
                  </a:txBody>
                  <a:tcPr marL="0" marR="0" marT="0" marB="0" anchor="ctr">
                    <a:lnL>
                      <a:noFill/>
                    </a:lnL>
                    <a:lnR>
                      <a:noFill/>
                    </a:lnR>
                    <a:lnT>
                      <a:noFill/>
                    </a:lnT>
                    <a:lnB>
                      <a:noFill/>
                    </a:lnB>
                  </a:tcPr>
                </a:tc>
              </a:tr>
            </a:tbl>
          </a:graphicData>
        </a:graphic>
      </p:graphicFrame>
      <p:graphicFrame>
        <p:nvGraphicFramePr>
          <p:cNvPr id="19" name="表格 18"/>
          <p:cNvGraphicFramePr>
            <a:graphicFrameLocks noGrp="1"/>
          </p:cNvGraphicFramePr>
          <p:nvPr/>
        </p:nvGraphicFramePr>
        <p:xfrm>
          <a:off x="3048000" y="3541713"/>
          <a:ext cx="6096000" cy="167640"/>
        </p:xfrm>
        <a:graphic>
          <a:graphicData uri="http://schemas.openxmlformats.org/drawingml/2006/table">
            <a:tbl>
              <a:tblPr/>
              <a:tblGrid>
                <a:gridCol w="6096000"/>
              </a:tblGrid>
              <a:tr h="160337">
                <a:tc>
                  <a:txBody>
                    <a:bodyPr/>
                    <a:lstStyle/>
                    <a:p>
                      <a:pPr algn="ctr">
                        <a:spcAft>
                          <a:spcPts val="0"/>
                        </a:spcAft>
                      </a:pPr>
                      <a:endParaRPr lang="zh-CN" sz="1100" kern="100" dirty="0">
                        <a:latin typeface="Times New Roman" panose="02020603050405020304"/>
                        <a:ea typeface="宋体" panose="02010600030101010101" pitchFamily="2" charset="-122"/>
                      </a:endParaRPr>
                    </a:p>
                  </a:txBody>
                  <a:tcPr marL="0" marR="0" marT="0" marB="0" anchor="ctr">
                    <a:lnL>
                      <a:noFill/>
                    </a:lnL>
                    <a:lnR>
                      <a:noFill/>
                    </a:lnR>
                    <a:lnT>
                      <a:noFill/>
                    </a:lnT>
                    <a:lnB>
                      <a:noFill/>
                    </a:lnB>
                  </a:tcPr>
                </a:tc>
              </a:tr>
            </a:tbl>
          </a:graphicData>
        </a:graphic>
      </p:graphicFrame>
      <p:grpSp>
        <p:nvGrpSpPr>
          <p:cNvPr id="30805" name="Group 1"/>
          <p:cNvGrpSpPr>
            <a:grpSpLocks noChangeAspect="1"/>
          </p:cNvGrpSpPr>
          <p:nvPr/>
        </p:nvGrpSpPr>
        <p:grpSpPr bwMode="auto">
          <a:xfrm>
            <a:off x="885825" y="1281113"/>
            <a:ext cx="8048625" cy="4786312"/>
            <a:chOff x="4344" y="1825"/>
            <a:chExt cx="10295" cy="7267"/>
          </a:xfrm>
        </p:grpSpPr>
        <p:sp>
          <p:nvSpPr>
            <p:cNvPr id="30806" name="AutoShape 27"/>
            <p:cNvSpPr>
              <a:spLocks noChangeArrowheads="1"/>
            </p:cNvSpPr>
            <p:nvPr/>
          </p:nvSpPr>
          <p:spPr bwMode="auto">
            <a:xfrm>
              <a:off x="4679" y="2024"/>
              <a:ext cx="2073" cy="888"/>
            </a:xfrm>
            <a:prstGeom prst="flowChartProcess">
              <a:avLst/>
            </a:prstGeom>
            <a:solidFill>
              <a:srgbClr val="BBE0E3"/>
            </a:solidFill>
            <a:ln w="9525">
              <a:solidFill>
                <a:srgbClr val="000000"/>
              </a:solidFill>
              <a:miter lim="800000"/>
              <a:headEnd/>
              <a:tailEnd/>
            </a:ln>
          </p:spPr>
          <p:txBody>
            <a:bodyPr lIns="53949" tIns="26975" rIns="53949" bIns="26975"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zh-CN" altLang="en-US" sz="2400" b="1">
                  <a:solidFill>
                    <a:srgbClr val="000000"/>
                  </a:solidFill>
                  <a:latin typeface="微软雅黑" pitchFamily="34" charset="-122"/>
                </a:rPr>
                <a:t>责任</a:t>
              </a:r>
            </a:p>
          </p:txBody>
        </p:sp>
        <p:sp>
          <p:nvSpPr>
            <p:cNvPr id="30807" name="AutoShape 26"/>
            <p:cNvSpPr>
              <a:spLocks noChangeArrowheads="1"/>
            </p:cNvSpPr>
            <p:nvPr/>
          </p:nvSpPr>
          <p:spPr bwMode="auto">
            <a:xfrm>
              <a:off x="12469" y="2024"/>
              <a:ext cx="2072" cy="888"/>
            </a:xfrm>
            <a:prstGeom prst="flowChartProcess">
              <a:avLst/>
            </a:prstGeom>
            <a:solidFill>
              <a:srgbClr val="BBE0E3"/>
            </a:solidFill>
            <a:ln w="9525">
              <a:solidFill>
                <a:srgbClr val="000000"/>
              </a:solidFill>
              <a:miter lim="800000"/>
              <a:headEnd/>
              <a:tailEnd/>
            </a:ln>
          </p:spPr>
          <p:txBody>
            <a:bodyPr lIns="53949" tIns="26975" rIns="53949" bIns="26975"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zh-CN" altLang="en-US" sz="2400" b="1">
                  <a:solidFill>
                    <a:srgbClr val="000000"/>
                  </a:solidFill>
                  <a:latin typeface="微软雅黑" pitchFamily="34" charset="-122"/>
                </a:rPr>
                <a:t>诚实</a:t>
              </a:r>
            </a:p>
          </p:txBody>
        </p:sp>
        <p:sp>
          <p:nvSpPr>
            <p:cNvPr id="30808" name="AutoShape 25"/>
            <p:cNvSpPr>
              <a:spLocks noChangeArrowheads="1"/>
            </p:cNvSpPr>
            <p:nvPr/>
          </p:nvSpPr>
          <p:spPr bwMode="auto">
            <a:xfrm>
              <a:off x="9906" y="2024"/>
              <a:ext cx="2072" cy="888"/>
            </a:xfrm>
            <a:prstGeom prst="flowChartProcess">
              <a:avLst/>
            </a:prstGeom>
            <a:solidFill>
              <a:srgbClr val="BBE0E3"/>
            </a:solidFill>
            <a:ln w="9525">
              <a:solidFill>
                <a:srgbClr val="000000"/>
              </a:solidFill>
              <a:miter lim="800000"/>
              <a:headEnd/>
              <a:tailEnd/>
            </a:ln>
          </p:spPr>
          <p:txBody>
            <a:bodyPr lIns="53949" tIns="26975" rIns="53949" bIns="26975"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zh-CN" altLang="en-US" sz="2400" b="1">
                  <a:solidFill>
                    <a:srgbClr val="000000"/>
                  </a:solidFill>
                  <a:latin typeface="微软雅黑" pitchFamily="34" charset="-122"/>
                </a:rPr>
                <a:t>公正</a:t>
              </a:r>
            </a:p>
          </p:txBody>
        </p:sp>
        <p:sp>
          <p:nvSpPr>
            <p:cNvPr id="30809" name="AutoShape 24"/>
            <p:cNvSpPr>
              <a:spLocks noChangeArrowheads="1"/>
            </p:cNvSpPr>
            <p:nvPr/>
          </p:nvSpPr>
          <p:spPr bwMode="auto">
            <a:xfrm>
              <a:off x="7340" y="2024"/>
              <a:ext cx="2073" cy="888"/>
            </a:xfrm>
            <a:prstGeom prst="flowChartProcess">
              <a:avLst/>
            </a:prstGeom>
            <a:solidFill>
              <a:srgbClr val="BBE0E3"/>
            </a:solidFill>
            <a:ln w="9525">
              <a:solidFill>
                <a:srgbClr val="000000"/>
              </a:solidFill>
              <a:miter lim="800000"/>
              <a:headEnd/>
              <a:tailEnd/>
            </a:ln>
          </p:spPr>
          <p:txBody>
            <a:bodyPr lIns="53949" tIns="26975" rIns="53949" bIns="26975"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zh-CN" altLang="en-US" sz="2400" b="1">
                  <a:solidFill>
                    <a:srgbClr val="000000"/>
                  </a:solidFill>
                  <a:latin typeface="微软雅黑" pitchFamily="34" charset="-122"/>
                </a:rPr>
                <a:t>尊重</a:t>
              </a:r>
            </a:p>
          </p:txBody>
        </p:sp>
        <p:sp>
          <p:nvSpPr>
            <p:cNvPr id="30810" name="AutoShape 23"/>
            <p:cNvSpPr>
              <a:spLocks noChangeArrowheads="1"/>
            </p:cNvSpPr>
            <p:nvPr/>
          </p:nvSpPr>
          <p:spPr bwMode="auto">
            <a:xfrm>
              <a:off x="4523" y="3997"/>
              <a:ext cx="2229" cy="889"/>
            </a:xfrm>
            <a:prstGeom prst="flowChartProcess">
              <a:avLst/>
            </a:prstGeom>
            <a:solidFill>
              <a:srgbClr val="C55A11"/>
            </a:solidFill>
            <a:ln w="9525">
              <a:solidFill>
                <a:srgbClr val="FF3300"/>
              </a:solidFill>
              <a:miter lim="800000"/>
              <a:headEnd/>
              <a:tailEnd/>
            </a:ln>
            <a:effectLst>
              <a:outerShdw dist="107763" dir="2700000" algn="ctr" rotWithShape="0">
                <a:srgbClr val="808080">
                  <a:alpha val="50000"/>
                </a:srgbClr>
              </a:outerShdw>
            </a:effectLst>
          </p:spPr>
          <p:txBody>
            <a:bodyPr lIns="53949" tIns="26975" rIns="53949" bIns="26975"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zh-CN" sz="1600" b="1">
                  <a:solidFill>
                    <a:schemeClr val="bg1"/>
                  </a:solidFill>
                  <a:latin typeface="微软雅黑" pitchFamily="34" charset="-122"/>
                </a:rPr>
                <a:t>对决定或不决定和</a:t>
              </a:r>
            </a:p>
            <a:p>
              <a:pPr eaLnBrk="0" hangingPunct="0"/>
              <a:r>
                <a:rPr lang="zh-CN" altLang="zh-CN" sz="1600" b="1">
                  <a:solidFill>
                    <a:schemeClr val="bg1"/>
                  </a:solidFill>
                  <a:latin typeface="微软雅黑" pitchFamily="34" charset="-122"/>
                </a:rPr>
                <a:t>行为或不行为负责</a:t>
              </a:r>
            </a:p>
          </p:txBody>
        </p:sp>
        <p:sp>
          <p:nvSpPr>
            <p:cNvPr id="30811" name="AutoShape 22"/>
            <p:cNvSpPr>
              <a:spLocks noChangeArrowheads="1"/>
            </p:cNvSpPr>
            <p:nvPr/>
          </p:nvSpPr>
          <p:spPr bwMode="auto">
            <a:xfrm>
              <a:off x="7119" y="3997"/>
              <a:ext cx="2294" cy="889"/>
            </a:xfrm>
            <a:prstGeom prst="flowChartProcess">
              <a:avLst/>
            </a:prstGeom>
            <a:solidFill>
              <a:srgbClr val="C55A11"/>
            </a:solidFill>
            <a:ln w="9525">
              <a:solidFill>
                <a:srgbClr val="FF3300"/>
              </a:solidFill>
              <a:miter lim="800000"/>
              <a:headEnd/>
              <a:tailEnd/>
            </a:ln>
            <a:effectLst>
              <a:outerShdw dist="107763" dir="2700000" algn="ctr" rotWithShape="0">
                <a:srgbClr val="808080">
                  <a:alpha val="50000"/>
                </a:srgbClr>
              </a:outerShdw>
            </a:effectLst>
          </p:spPr>
          <p:txBody>
            <a:bodyPr lIns="53949" tIns="26975" rIns="53949" bIns="26975"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zh-CN" sz="1600" b="1">
                  <a:solidFill>
                    <a:schemeClr val="bg1"/>
                  </a:solidFill>
                  <a:latin typeface="微软雅黑" pitchFamily="34" charset="-122"/>
                </a:rPr>
                <a:t>重视自己、他人和所管辖的资源</a:t>
              </a:r>
            </a:p>
          </p:txBody>
        </p:sp>
        <p:sp>
          <p:nvSpPr>
            <p:cNvPr id="30812" name="AutoShape 21"/>
            <p:cNvSpPr>
              <a:spLocks noChangeArrowheads="1"/>
            </p:cNvSpPr>
            <p:nvPr/>
          </p:nvSpPr>
          <p:spPr bwMode="auto">
            <a:xfrm>
              <a:off x="9716" y="3997"/>
              <a:ext cx="2262" cy="889"/>
            </a:xfrm>
            <a:prstGeom prst="flowChartProcess">
              <a:avLst/>
            </a:prstGeom>
            <a:solidFill>
              <a:srgbClr val="C55A11"/>
            </a:solidFill>
            <a:ln w="9525">
              <a:solidFill>
                <a:srgbClr val="FF3300"/>
              </a:solidFill>
              <a:miter lim="800000"/>
              <a:headEnd/>
              <a:tailEnd/>
            </a:ln>
            <a:effectLst>
              <a:outerShdw dist="107763" dir="2700000" algn="ctr" rotWithShape="0">
                <a:srgbClr val="808080">
                  <a:alpha val="50000"/>
                </a:srgbClr>
              </a:outerShdw>
            </a:effectLst>
          </p:spPr>
          <p:txBody>
            <a:bodyPr lIns="53949" tIns="26975" rIns="53949" bIns="26975"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zh-CN" sz="1600" b="1">
                  <a:solidFill>
                    <a:schemeClr val="bg1"/>
                  </a:solidFill>
                  <a:latin typeface="微软雅黑" pitchFamily="34" charset="-122"/>
                </a:rPr>
                <a:t>做出不偏袒、客观的决定和行为</a:t>
              </a:r>
            </a:p>
          </p:txBody>
        </p:sp>
        <p:sp>
          <p:nvSpPr>
            <p:cNvPr id="30813" name="AutoShape 20"/>
            <p:cNvSpPr>
              <a:spLocks noChangeArrowheads="1"/>
            </p:cNvSpPr>
            <p:nvPr/>
          </p:nvSpPr>
          <p:spPr bwMode="auto">
            <a:xfrm>
              <a:off x="12221" y="3997"/>
              <a:ext cx="2418" cy="889"/>
            </a:xfrm>
            <a:prstGeom prst="flowChartProcess">
              <a:avLst/>
            </a:prstGeom>
            <a:solidFill>
              <a:srgbClr val="C55A11"/>
            </a:solidFill>
            <a:ln w="9525">
              <a:solidFill>
                <a:srgbClr val="FF3300"/>
              </a:solidFill>
              <a:miter lim="800000"/>
              <a:headEnd/>
              <a:tailEnd/>
            </a:ln>
            <a:effectLst>
              <a:outerShdw dist="107763" dir="2700000" algn="ctr" rotWithShape="0">
                <a:srgbClr val="808080">
                  <a:alpha val="50000"/>
                </a:srgbClr>
              </a:outerShdw>
            </a:effectLst>
          </p:spPr>
          <p:txBody>
            <a:bodyPr lIns="53949" tIns="26975" rIns="53949" bIns="26975"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zh-CN" sz="1600" b="1">
                  <a:solidFill>
                    <a:schemeClr val="bg1"/>
                  </a:solidFill>
                  <a:latin typeface="微软雅黑" pitchFamily="34" charset="-122"/>
                </a:rPr>
                <a:t>了解真相</a:t>
              </a:r>
              <a:r>
                <a:rPr lang="zh-CN" altLang="en-US" sz="1600" b="1">
                  <a:solidFill>
                    <a:schemeClr val="bg1"/>
                  </a:solidFill>
                  <a:latin typeface="微软雅黑" pitchFamily="34" charset="-122"/>
                </a:rPr>
                <a:t>，基于真相沟通与行动</a:t>
              </a:r>
            </a:p>
          </p:txBody>
        </p:sp>
        <p:sp>
          <p:nvSpPr>
            <p:cNvPr id="30814" name="AutoShape 19"/>
            <p:cNvSpPr>
              <a:spLocks noChangeArrowheads="1"/>
            </p:cNvSpPr>
            <p:nvPr/>
          </p:nvSpPr>
          <p:spPr bwMode="auto">
            <a:xfrm>
              <a:off x="4679" y="6071"/>
              <a:ext cx="2172" cy="2838"/>
            </a:xfrm>
            <a:prstGeom prst="flowChartProcess">
              <a:avLst/>
            </a:prstGeom>
            <a:solidFill>
              <a:srgbClr val="009999"/>
            </a:solidFill>
            <a:ln>
              <a:noFill/>
            </a:ln>
            <a:scene3d>
              <a:camera prst="legacyObliqueTopLeft"/>
              <a:lightRig rig="legacyFlat3" dir="t"/>
            </a:scene3d>
            <a:sp3d extrusionH="430200" prstMaterial="legacyMatte">
              <a:bevelT w="13500" h="13500" prst="angle"/>
              <a:bevelB w="13500" h="13500" prst="angle"/>
              <a:extrusionClr>
                <a:srgbClr val="009999"/>
              </a:extrusionClr>
            </a:sp3d>
            <a:extLst>
              <a:ext uri="{91240B29-F687-4F45-9708-019B960494DF}">
                <a14:hiddenLine xmlns:a14="http://schemas.microsoft.com/office/drawing/2010/main" w="9525">
                  <a:noFill/>
                  <a:miter lim="800000"/>
                  <a:headEnd/>
                  <a:tailEnd/>
                </a14:hiddenLine>
              </a:ext>
            </a:extLst>
          </p:spPr>
          <p:txBody>
            <a:bodyPr lIns="53949" tIns="26975" rIns="53949" bIns="26975">
              <a:flatTx/>
            </a:bodyPr>
            <a:lstStyle>
              <a:lvl1pPr defTabSz="0">
                <a:tabLst>
                  <a:tab pos="266700" algn="l"/>
                </a:tabLst>
                <a:defRPr>
                  <a:solidFill>
                    <a:schemeClr val="tx1"/>
                  </a:solidFill>
                  <a:latin typeface="Tw Cen MT" pitchFamily="34" charset="0"/>
                  <a:ea typeface="微软雅黑" pitchFamily="34" charset="-122"/>
                </a:defRPr>
              </a:lvl1pPr>
              <a:lvl2pPr defTabSz="0">
                <a:tabLst>
                  <a:tab pos="266700" algn="l"/>
                </a:tabLst>
                <a:defRPr>
                  <a:solidFill>
                    <a:schemeClr val="tx1"/>
                  </a:solidFill>
                  <a:latin typeface="Tw Cen MT" pitchFamily="34" charset="0"/>
                  <a:ea typeface="微软雅黑" pitchFamily="34" charset="-122"/>
                </a:defRPr>
              </a:lvl2pPr>
              <a:lvl3pPr defTabSz="0">
                <a:tabLst>
                  <a:tab pos="266700" algn="l"/>
                </a:tabLst>
                <a:defRPr>
                  <a:solidFill>
                    <a:schemeClr val="tx1"/>
                  </a:solidFill>
                  <a:latin typeface="Tw Cen MT" pitchFamily="34" charset="0"/>
                  <a:ea typeface="微软雅黑" pitchFamily="34" charset="-122"/>
                </a:defRPr>
              </a:lvl3pPr>
              <a:lvl4pPr defTabSz="0">
                <a:tabLst>
                  <a:tab pos="266700" algn="l"/>
                </a:tabLst>
                <a:defRPr>
                  <a:solidFill>
                    <a:schemeClr val="tx1"/>
                  </a:solidFill>
                  <a:latin typeface="Tw Cen MT" pitchFamily="34" charset="0"/>
                  <a:ea typeface="微软雅黑" pitchFamily="34" charset="-122"/>
                </a:defRPr>
              </a:lvl4pPr>
              <a:lvl5pPr defTabSz="0">
                <a:tabLst>
                  <a:tab pos="266700" algn="l"/>
                </a:tabLst>
                <a:defRPr>
                  <a:solidFill>
                    <a:schemeClr val="tx1"/>
                  </a:solidFill>
                  <a:latin typeface="Tw Cen MT" pitchFamily="34" charset="0"/>
                  <a:ea typeface="微软雅黑" pitchFamily="34" charset="-122"/>
                </a:defRPr>
              </a:lvl5pPr>
              <a:lvl6pPr defTabSz="0" fontAlgn="base">
                <a:spcBef>
                  <a:spcPct val="0"/>
                </a:spcBef>
                <a:spcAft>
                  <a:spcPct val="0"/>
                </a:spcAft>
                <a:buFont typeface="Arial" pitchFamily="34" charset="0"/>
                <a:tabLst>
                  <a:tab pos="266700" algn="l"/>
                </a:tabLst>
                <a:defRPr>
                  <a:solidFill>
                    <a:schemeClr val="tx1"/>
                  </a:solidFill>
                  <a:latin typeface="Tw Cen MT" pitchFamily="34" charset="0"/>
                  <a:ea typeface="微软雅黑" pitchFamily="34" charset="-122"/>
                </a:defRPr>
              </a:lvl6pPr>
              <a:lvl7pPr defTabSz="0" fontAlgn="base">
                <a:spcBef>
                  <a:spcPct val="0"/>
                </a:spcBef>
                <a:spcAft>
                  <a:spcPct val="0"/>
                </a:spcAft>
                <a:buFont typeface="Arial" pitchFamily="34" charset="0"/>
                <a:tabLst>
                  <a:tab pos="266700" algn="l"/>
                </a:tabLst>
                <a:defRPr>
                  <a:solidFill>
                    <a:schemeClr val="tx1"/>
                  </a:solidFill>
                  <a:latin typeface="Tw Cen MT" pitchFamily="34" charset="0"/>
                  <a:ea typeface="微软雅黑" pitchFamily="34" charset="-122"/>
                </a:defRPr>
              </a:lvl7pPr>
              <a:lvl8pPr defTabSz="0" fontAlgn="base">
                <a:spcBef>
                  <a:spcPct val="0"/>
                </a:spcBef>
                <a:spcAft>
                  <a:spcPct val="0"/>
                </a:spcAft>
                <a:buFont typeface="Arial" pitchFamily="34" charset="0"/>
                <a:tabLst>
                  <a:tab pos="266700" algn="l"/>
                </a:tabLst>
                <a:defRPr>
                  <a:solidFill>
                    <a:schemeClr val="tx1"/>
                  </a:solidFill>
                  <a:latin typeface="Tw Cen MT" pitchFamily="34" charset="0"/>
                  <a:ea typeface="微软雅黑" pitchFamily="34" charset="-122"/>
                </a:defRPr>
              </a:lvl8pPr>
              <a:lvl9pPr defTabSz="0" fontAlgn="base">
                <a:spcBef>
                  <a:spcPct val="0"/>
                </a:spcBef>
                <a:spcAft>
                  <a:spcPct val="0"/>
                </a:spcAft>
                <a:buFont typeface="Arial" pitchFamily="34" charset="0"/>
                <a:tabLst>
                  <a:tab pos="266700" algn="l"/>
                </a:tabLst>
                <a:defRPr>
                  <a:solidFill>
                    <a:schemeClr val="tx1"/>
                  </a:solidFill>
                  <a:latin typeface="Tw Cen MT" pitchFamily="34" charset="0"/>
                  <a:ea typeface="微软雅黑" pitchFamily="34" charset="-122"/>
                </a:defRPr>
              </a:lvl9pPr>
            </a:lstStyle>
            <a:p>
              <a:pPr>
                <a:buFont typeface="Arial" pitchFamily="34" charset="0"/>
                <a:buChar char="•"/>
              </a:pPr>
              <a:r>
                <a:rPr lang="zh-CN" altLang="en-US" sz="1600">
                  <a:solidFill>
                    <a:srgbClr val="FFFFFF"/>
                  </a:solidFill>
                  <a:latin typeface="微软雅黑" pitchFamily="34" charset="-122"/>
                </a:rPr>
                <a:t>  一系列期望性行为，如：做出有利于社会和环境的决定</a:t>
              </a:r>
              <a:endParaRPr lang="zh-CN" altLang="en-US" sz="2000">
                <a:latin typeface="微软雅黑" pitchFamily="34" charset="-122"/>
              </a:endParaRPr>
            </a:p>
            <a:p>
              <a:pPr eaLnBrk="0" hangingPunct="0">
                <a:buFont typeface="Arial" pitchFamily="34" charset="0"/>
                <a:buChar char="•"/>
              </a:pPr>
              <a:r>
                <a:rPr lang="zh-CN" altLang="en-US" sz="1600">
                  <a:solidFill>
                    <a:srgbClr val="FFFFFF"/>
                  </a:solidFill>
                  <a:latin typeface="微软雅黑" pitchFamily="34" charset="-122"/>
                </a:rPr>
                <a:t>  一系列强制性行为，如：遵守法律和道德</a:t>
              </a:r>
              <a:endParaRPr lang="zh-CN" altLang="en-US" sz="3600">
                <a:latin typeface="微软雅黑" pitchFamily="34" charset="-122"/>
              </a:endParaRPr>
            </a:p>
          </p:txBody>
        </p:sp>
        <p:sp>
          <p:nvSpPr>
            <p:cNvPr id="30815" name="AutoShape 18"/>
            <p:cNvSpPr>
              <a:spLocks noChangeArrowheads="1"/>
            </p:cNvSpPr>
            <p:nvPr/>
          </p:nvSpPr>
          <p:spPr bwMode="auto">
            <a:xfrm>
              <a:off x="7298" y="6071"/>
              <a:ext cx="2115" cy="2838"/>
            </a:xfrm>
            <a:prstGeom prst="flowChartProcess">
              <a:avLst/>
            </a:prstGeom>
            <a:solidFill>
              <a:srgbClr val="009999"/>
            </a:solidFill>
            <a:ln>
              <a:noFill/>
            </a:ln>
            <a:scene3d>
              <a:camera prst="legacyObliqueTopLeft"/>
              <a:lightRig rig="legacyFlat3" dir="t"/>
            </a:scene3d>
            <a:sp3d extrusionH="430200" prstMaterial="legacyMatte">
              <a:bevelT w="13500" h="13500" prst="angle"/>
              <a:bevelB w="13500" h="13500" prst="angle"/>
              <a:extrusionClr>
                <a:srgbClr val="009999"/>
              </a:extrusionClr>
            </a:sp3d>
            <a:extLst>
              <a:ext uri="{91240B29-F687-4F45-9708-019B960494DF}">
                <a14:hiddenLine xmlns:a14="http://schemas.microsoft.com/office/drawing/2010/main" w="9525">
                  <a:noFill/>
                  <a:miter lim="800000"/>
                  <a:headEnd/>
                  <a:tailEnd/>
                </a14:hiddenLine>
              </a:ext>
            </a:extLst>
          </p:spPr>
          <p:txBody>
            <a:bodyPr lIns="53949" tIns="26975" rIns="53949" bIns="26975">
              <a:flatTx/>
            </a:bodyPr>
            <a:lstStyle>
              <a:lvl1pPr defTabSz="0">
                <a:tabLst>
                  <a:tab pos="266700" algn="l"/>
                </a:tabLst>
                <a:defRPr>
                  <a:solidFill>
                    <a:schemeClr val="tx1"/>
                  </a:solidFill>
                  <a:latin typeface="Tw Cen MT" pitchFamily="34" charset="0"/>
                  <a:ea typeface="微软雅黑" pitchFamily="34" charset="-122"/>
                </a:defRPr>
              </a:lvl1pPr>
              <a:lvl2pPr defTabSz="0">
                <a:tabLst>
                  <a:tab pos="266700" algn="l"/>
                </a:tabLst>
                <a:defRPr>
                  <a:solidFill>
                    <a:schemeClr val="tx1"/>
                  </a:solidFill>
                  <a:latin typeface="Tw Cen MT" pitchFamily="34" charset="0"/>
                  <a:ea typeface="微软雅黑" pitchFamily="34" charset="-122"/>
                </a:defRPr>
              </a:lvl2pPr>
              <a:lvl3pPr defTabSz="0">
                <a:tabLst>
                  <a:tab pos="266700" algn="l"/>
                </a:tabLst>
                <a:defRPr>
                  <a:solidFill>
                    <a:schemeClr val="tx1"/>
                  </a:solidFill>
                  <a:latin typeface="Tw Cen MT" pitchFamily="34" charset="0"/>
                  <a:ea typeface="微软雅黑" pitchFamily="34" charset="-122"/>
                </a:defRPr>
              </a:lvl3pPr>
              <a:lvl4pPr defTabSz="0">
                <a:tabLst>
                  <a:tab pos="266700" algn="l"/>
                </a:tabLst>
                <a:defRPr>
                  <a:solidFill>
                    <a:schemeClr val="tx1"/>
                  </a:solidFill>
                  <a:latin typeface="Tw Cen MT" pitchFamily="34" charset="0"/>
                  <a:ea typeface="微软雅黑" pitchFamily="34" charset="-122"/>
                </a:defRPr>
              </a:lvl4pPr>
              <a:lvl5pPr defTabSz="0">
                <a:tabLst>
                  <a:tab pos="266700" algn="l"/>
                </a:tabLst>
                <a:defRPr>
                  <a:solidFill>
                    <a:schemeClr val="tx1"/>
                  </a:solidFill>
                  <a:latin typeface="Tw Cen MT" pitchFamily="34" charset="0"/>
                  <a:ea typeface="微软雅黑" pitchFamily="34" charset="-122"/>
                </a:defRPr>
              </a:lvl5pPr>
              <a:lvl6pPr defTabSz="0" fontAlgn="base">
                <a:spcBef>
                  <a:spcPct val="0"/>
                </a:spcBef>
                <a:spcAft>
                  <a:spcPct val="0"/>
                </a:spcAft>
                <a:buFont typeface="Arial" pitchFamily="34" charset="0"/>
                <a:tabLst>
                  <a:tab pos="266700" algn="l"/>
                </a:tabLst>
                <a:defRPr>
                  <a:solidFill>
                    <a:schemeClr val="tx1"/>
                  </a:solidFill>
                  <a:latin typeface="Tw Cen MT" pitchFamily="34" charset="0"/>
                  <a:ea typeface="微软雅黑" pitchFamily="34" charset="-122"/>
                </a:defRPr>
              </a:lvl6pPr>
              <a:lvl7pPr defTabSz="0" fontAlgn="base">
                <a:spcBef>
                  <a:spcPct val="0"/>
                </a:spcBef>
                <a:spcAft>
                  <a:spcPct val="0"/>
                </a:spcAft>
                <a:buFont typeface="Arial" pitchFamily="34" charset="0"/>
                <a:tabLst>
                  <a:tab pos="266700" algn="l"/>
                </a:tabLst>
                <a:defRPr>
                  <a:solidFill>
                    <a:schemeClr val="tx1"/>
                  </a:solidFill>
                  <a:latin typeface="Tw Cen MT" pitchFamily="34" charset="0"/>
                  <a:ea typeface="微软雅黑" pitchFamily="34" charset="-122"/>
                </a:defRPr>
              </a:lvl7pPr>
              <a:lvl8pPr defTabSz="0" fontAlgn="base">
                <a:spcBef>
                  <a:spcPct val="0"/>
                </a:spcBef>
                <a:spcAft>
                  <a:spcPct val="0"/>
                </a:spcAft>
                <a:buFont typeface="Arial" pitchFamily="34" charset="0"/>
                <a:tabLst>
                  <a:tab pos="266700" algn="l"/>
                </a:tabLst>
                <a:defRPr>
                  <a:solidFill>
                    <a:schemeClr val="tx1"/>
                  </a:solidFill>
                  <a:latin typeface="Tw Cen MT" pitchFamily="34" charset="0"/>
                  <a:ea typeface="微软雅黑" pitchFamily="34" charset="-122"/>
                </a:defRPr>
              </a:lvl8pPr>
              <a:lvl9pPr defTabSz="0" fontAlgn="base">
                <a:spcBef>
                  <a:spcPct val="0"/>
                </a:spcBef>
                <a:spcAft>
                  <a:spcPct val="0"/>
                </a:spcAft>
                <a:buFont typeface="Arial" pitchFamily="34" charset="0"/>
                <a:tabLst>
                  <a:tab pos="266700" algn="l"/>
                </a:tabLst>
                <a:defRPr>
                  <a:solidFill>
                    <a:schemeClr val="tx1"/>
                  </a:solidFill>
                  <a:latin typeface="Tw Cen MT" pitchFamily="34" charset="0"/>
                  <a:ea typeface="微软雅黑" pitchFamily="34" charset="-122"/>
                </a:defRPr>
              </a:lvl9pPr>
            </a:lstStyle>
            <a:p>
              <a:pPr>
                <a:buFont typeface="Arial" pitchFamily="34" charset="0"/>
                <a:buChar char="•"/>
              </a:pPr>
              <a:r>
                <a:rPr lang="zh-CN" altLang="en-US" sz="1600">
                  <a:solidFill>
                    <a:srgbClr val="FFFFFF"/>
                  </a:solidFill>
                  <a:latin typeface="微软雅黑" pitchFamily="34" charset="-122"/>
                </a:rPr>
                <a:t>  一系列期望性行为，如：了解他人的风俗习惯</a:t>
              </a:r>
              <a:endParaRPr lang="zh-CN" altLang="en-US" sz="2000">
                <a:latin typeface="微软雅黑" pitchFamily="34" charset="-122"/>
              </a:endParaRPr>
            </a:p>
            <a:p>
              <a:pPr eaLnBrk="0" hangingPunct="0">
                <a:buFont typeface="Arial" pitchFamily="34" charset="0"/>
                <a:buChar char="•"/>
              </a:pPr>
              <a:r>
                <a:rPr lang="zh-CN" altLang="en-US" sz="1600">
                  <a:solidFill>
                    <a:srgbClr val="FFFFFF"/>
                  </a:solidFill>
                  <a:latin typeface="微软雅黑" pitchFamily="34" charset="-122"/>
                </a:rPr>
                <a:t>  一系列强制性行为，如：不虐待他人、尊重知识产权</a:t>
              </a:r>
              <a:endParaRPr lang="zh-CN" altLang="en-US" sz="3600">
                <a:latin typeface="微软雅黑" pitchFamily="34" charset="-122"/>
              </a:endParaRPr>
            </a:p>
          </p:txBody>
        </p:sp>
        <p:sp>
          <p:nvSpPr>
            <p:cNvPr id="30816" name="AutoShape 17"/>
            <p:cNvSpPr>
              <a:spLocks noChangeArrowheads="1"/>
            </p:cNvSpPr>
            <p:nvPr/>
          </p:nvSpPr>
          <p:spPr bwMode="auto">
            <a:xfrm>
              <a:off x="9805" y="6071"/>
              <a:ext cx="2173" cy="2838"/>
            </a:xfrm>
            <a:prstGeom prst="flowChartProcess">
              <a:avLst/>
            </a:prstGeom>
            <a:solidFill>
              <a:srgbClr val="009999"/>
            </a:solidFill>
            <a:ln>
              <a:noFill/>
            </a:ln>
            <a:scene3d>
              <a:camera prst="legacyObliqueTopLeft"/>
              <a:lightRig rig="legacyFlat3" dir="t"/>
            </a:scene3d>
            <a:sp3d extrusionH="430200" prstMaterial="legacyMatte">
              <a:bevelT w="13500" h="13500" prst="angle"/>
              <a:bevelB w="13500" h="13500" prst="angle"/>
              <a:extrusionClr>
                <a:srgbClr val="009999"/>
              </a:extrusionClr>
            </a:sp3d>
            <a:extLst>
              <a:ext uri="{91240B29-F687-4F45-9708-019B960494DF}">
                <a14:hiddenLine xmlns:a14="http://schemas.microsoft.com/office/drawing/2010/main" w="9525">
                  <a:noFill/>
                  <a:miter lim="800000"/>
                  <a:headEnd/>
                  <a:tailEnd/>
                </a14:hiddenLine>
              </a:ext>
            </a:extLst>
          </p:spPr>
          <p:txBody>
            <a:bodyPr lIns="53949" tIns="26975" rIns="53949" bIns="26975">
              <a:flatTx/>
            </a:bodyPr>
            <a:lstStyle>
              <a:lvl1pPr defTabSz="0">
                <a:tabLst>
                  <a:tab pos="266700" algn="l"/>
                </a:tabLst>
                <a:defRPr>
                  <a:solidFill>
                    <a:schemeClr val="tx1"/>
                  </a:solidFill>
                  <a:latin typeface="Tw Cen MT" pitchFamily="34" charset="0"/>
                  <a:ea typeface="微软雅黑" pitchFamily="34" charset="-122"/>
                </a:defRPr>
              </a:lvl1pPr>
              <a:lvl2pPr defTabSz="0">
                <a:tabLst>
                  <a:tab pos="266700" algn="l"/>
                </a:tabLst>
                <a:defRPr>
                  <a:solidFill>
                    <a:schemeClr val="tx1"/>
                  </a:solidFill>
                  <a:latin typeface="Tw Cen MT" pitchFamily="34" charset="0"/>
                  <a:ea typeface="微软雅黑" pitchFamily="34" charset="-122"/>
                </a:defRPr>
              </a:lvl2pPr>
              <a:lvl3pPr defTabSz="0">
                <a:tabLst>
                  <a:tab pos="266700" algn="l"/>
                </a:tabLst>
                <a:defRPr>
                  <a:solidFill>
                    <a:schemeClr val="tx1"/>
                  </a:solidFill>
                  <a:latin typeface="Tw Cen MT" pitchFamily="34" charset="0"/>
                  <a:ea typeface="微软雅黑" pitchFamily="34" charset="-122"/>
                </a:defRPr>
              </a:lvl3pPr>
              <a:lvl4pPr defTabSz="0">
                <a:tabLst>
                  <a:tab pos="266700" algn="l"/>
                </a:tabLst>
                <a:defRPr>
                  <a:solidFill>
                    <a:schemeClr val="tx1"/>
                  </a:solidFill>
                  <a:latin typeface="Tw Cen MT" pitchFamily="34" charset="0"/>
                  <a:ea typeface="微软雅黑" pitchFamily="34" charset="-122"/>
                </a:defRPr>
              </a:lvl4pPr>
              <a:lvl5pPr defTabSz="0">
                <a:tabLst>
                  <a:tab pos="266700" algn="l"/>
                </a:tabLst>
                <a:defRPr>
                  <a:solidFill>
                    <a:schemeClr val="tx1"/>
                  </a:solidFill>
                  <a:latin typeface="Tw Cen MT" pitchFamily="34" charset="0"/>
                  <a:ea typeface="微软雅黑" pitchFamily="34" charset="-122"/>
                </a:defRPr>
              </a:lvl5pPr>
              <a:lvl6pPr defTabSz="0" fontAlgn="base">
                <a:spcBef>
                  <a:spcPct val="0"/>
                </a:spcBef>
                <a:spcAft>
                  <a:spcPct val="0"/>
                </a:spcAft>
                <a:buFont typeface="Arial" pitchFamily="34" charset="0"/>
                <a:tabLst>
                  <a:tab pos="266700" algn="l"/>
                </a:tabLst>
                <a:defRPr>
                  <a:solidFill>
                    <a:schemeClr val="tx1"/>
                  </a:solidFill>
                  <a:latin typeface="Tw Cen MT" pitchFamily="34" charset="0"/>
                  <a:ea typeface="微软雅黑" pitchFamily="34" charset="-122"/>
                </a:defRPr>
              </a:lvl6pPr>
              <a:lvl7pPr defTabSz="0" fontAlgn="base">
                <a:spcBef>
                  <a:spcPct val="0"/>
                </a:spcBef>
                <a:spcAft>
                  <a:spcPct val="0"/>
                </a:spcAft>
                <a:buFont typeface="Arial" pitchFamily="34" charset="0"/>
                <a:tabLst>
                  <a:tab pos="266700" algn="l"/>
                </a:tabLst>
                <a:defRPr>
                  <a:solidFill>
                    <a:schemeClr val="tx1"/>
                  </a:solidFill>
                  <a:latin typeface="Tw Cen MT" pitchFamily="34" charset="0"/>
                  <a:ea typeface="微软雅黑" pitchFamily="34" charset="-122"/>
                </a:defRPr>
              </a:lvl7pPr>
              <a:lvl8pPr defTabSz="0" fontAlgn="base">
                <a:spcBef>
                  <a:spcPct val="0"/>
                </a:spcBef>
                <a:spcAft>
                  <a:spcPct val="0"/>
                </a:spcAft>
                <a:buFont typeface="Arial" pitchFamily="34" charset="0"/>
                <a:tabLst>
                  <a:tab pos="266700" algn="l"/>
                </a:tabLst>
                <a:defRPr>
                  <a:solidFill>
                    <a:schemeClr val="tx1"/>
                  </a:solidFill>
                  <a:latin typeface="Tw Cen MT" pitchFamily="34" charset="0"/>
                  <a:ea typeface="微软雅黑" pitchFamily="34" charset="-122"/>
                </a:defRPr>
              </a:lvl8pPr>
              <a:lvl9pPr defTabSz="0" fontAlgn="base">
                <a:spcBef>
                  <a:spcPct val="0"/>
                </a:spcBef>
                <a:spcAft>
                  <a:spcPct val="0"/>
                </a:spcAft>
                <a:buFont typeface="Arial" pitchFamily="34" charset="0"/>
                <a:tabLst>
                  <a:tab pos="266700" algn="l"/>
                </a:tabLst>
                <a:defRPr>
                  <a:solidFill>
                    <a:schemeClr val="tx1"/>
                  </a:solidFill>
                  <a:latin typeface="Tw Cen MT" pitchFamily="34" charset="0"/>
                  <a:ea typeface="微软雅黑" pitchFamily="34" charset="-122"/>
                </a:defRPr>
              </a:lvl9pPr>
            </a:lstStyle>
            <a:p>
              <a:pPr>
                <a:buFont typeface="Arial" pitchFamily="34" charset="0"/>
                <a:buChar char="•"/>
              </a:pPr>
              <a:r>
                <a:rPr lang="zh-CN" altLang="en-US" sz="1600">
                  <a:solidFill>
                    <a:srgbClr val="FFFFFF"/>
                  </a:solidFill>
                  <a:latin typeface="微软雅黑" pitchFamily="34" charset="-122"/>
                </a:rPr>
                <a:t>  一系列期望性行为，如：决策过程透明</a:t>
              </a:r>
              <a:endParaRPr lang="zh-CN" altLang="en-US" sz="2000">
                <a:latin typeface="微软雅黑" pitchFamily="34" charset="-122"/>
              </a:endParaRPr>
            </a:p>
            <a:p>
              <a:pPr eaLnBrk="0" hangingPunct="0">
                <a:buFont typeface="Arial" pitchFamily="34" charset="0"/>
                <a:buChar char="•"/>
              </a:pPr>
              <a:r>
                <a:rPr lang="zh-CN" altLang="en-US" sz="1600">
                  <a:solidFill>
                    <a:srgbClr val="FFFFFF"/>
                  </a:solidFill>
                  <a:latin typeface="微软雅黑" pitchFamily="34" charset="-122"/>
                </a:rPr>
                <a:t>  一系列强制性行为，如：正确处理利益冲突</a:t>
              </a:r>
              <a:endParaRPr lang="zh-CN" altLang="en-US" sz="3600">
                <a:latin typeface="微软雅黑" pitchFamily="34" charset="-122"/>
              </a:endParaRPr>
            </a:p>
          </p:txBody>
        </p:sp>
        <p:sp>
          <p:nvSpPr>
            <p:cNvPr id="30817" name="AutoShape 16"/>
            <p:cNvSpPr>
              <a:spLocks noChangeArrowheads="1"/>
            </p:cNvSpPr>
            <p:nvPr/>
          </p:nvSpPr>
          <p:spPr bwMode="auto">
            <a:xfrm>
              <a:off x="12469" y="6071"/>
              <a:ext cx="2072" cy="2838"/>
            </a:xfrm>
            <a:prstGeom prst="flowChartProcess">
              <a:avLst/>
            </a:prstGeom>
            <a:solidFill>
              <a:srgbClr val="009999"/>
            </a:solidFill>
            <a:ln>
              <a:noFill/>
            </a:ln>
            <a:scene3d>
              <a:camera prst="legacyObliqueTopLeft"/>
              <a:lightRig rig="legacyFlat3" dir="t"/>
            </a:scene3d>
            <a:sp3d extrusionH="430200" prstMaterial="legacyMatte">
              <a:bevelT w="13500" h="13500" prst="angle"/>
              <a:bevelB w="13500" h="13500" prst="angle"/>
              <a:extrusionClr>
                <a:srgbClr val="009999"/>
              </a:extrusionClr>
            </a:sp3d>
            <a:extLst>
              <a:ext uri="{91240B29-F687-4F45-9708-019B960494DF}">
                <a14:hiddenLine xmlns:a14="http://schemas.microsoft.com/office/drawing/2010/main" w="9525">
                  <a:noFill/>
                  <a:miter lim="800000"/>
                  <a:headEnd/>
                  <a:tailEnd/>
                </a14:hiddenLine>
              </a:ext>
            </a:extLst>
          </p:spPr>
          <p:txBody>
            <a:bodyPr lIns="53949" tIns="26975" rIns="53949" bIns="26975">
              <a:flatTx/>
            </a:bodyPr>
            <a:lstStyle>
              <a:lvl1pPr defTabSz="0">
                <a:tabLst>
                  <a:tab pos="266700" algn="l"/>
                </a:tabLst>
                <a:defRPr>
                  <a:solidFill>
                    <a:schemeClr val="tx1"/>
                  </a:solidFill>
                  <a:latin typeface="Tw Cen MT" pitchFamily="34" charset="0"/>
                  <a:ea typeface="微软雅黑" pitchFamily="34" charset="-122"/>
                </a:defRPr>
              </a:lvl1pPr>
              <a:lvl2pPr defTabSz="0">
                <a:tabLst>
                  <a:tab pos="266700" algn="l"/>
                </a:tabLst>
                <a:defRPr>
                  <a:solidFill>
                    <a:schemeClr val="tx1"/>
                  </a:solidFill>
                  <a:latin typeface="Tw Cen MT" pitchFamily="34" charset="0"/>
                  <a:ea typeface="微软雅黑" pitchFamily="34" charset="-122"/>
                </a:defRPr>
              </a:lvl2pPr>
              <a:lvl3pPr defTabSz="0">
                <a:tabLst>
                  <a:tab pos="266700" algn="l"/>
                </a:tabLst>
                <a:defRPr>
                  <a:solidFill>
                    <a:schemeClr val="tx1"/>
                  </a:solidFill>
                  <a:latin typeface="Tw Cen MT" pitchFamily="34" charset="0"/>
                  <a:ea typeface="微软雅黑" pitchFamily="34" charset="-122"/>
                </a:defRPr>
              </a:lvl3pPr>
              <a:lvl4pPr defTabSz="0">
                <a:tabLst>
                  <a:tab pos="266700" algn="l"/>
                </a:tabLst>
                <a:defRPr>
                  <a:solidFill>
                    <a:schemeClr val="tx1"/>
                  </a:solidFill>
                  <a:latin typeface="Tw Cen MT" pitchFamily="34" charset="0"/>
                  <a:ea typeface="微软雅黑" pitchFamily="34" charset="-122"/>
                </a:defRPr>
              </a:lvl4pPr>
              <a:lvl5pPr defTabSz="0">
                <a:tabLst>
                  <a:tab pos="266700" algn="l"/>
                </a:tabLst>
                <a:defRPr>
                  <a:solidFill>
                    <a:schemeClr val="tx1"/>
                  </a:solidFill>
                  <a:latin typeface="Tw Cen MT" pitchFamily="34" charset="0"/>
                  <a:ea typeface="微软雅黑" pitchFamily="34" charset="-122"/>
                </a:defRPr>
              </a:lvl5pPr>
              <a:lvl6pPr defTabSz="0" fontAlgn="base">
                <a:spcBef>
                  <a:spcPct val="0"/>
                </a:spcBef>
                <a:spcAft>
                  <a:spcPct val="0"/>
                </a:spcAft>
                <a:buFont typeface="Arial" pitchFamily="34" charset="0"/>
                <a:tabLst>
                  <a:tab pos="266700" algn="l"/>
                </a:tabLst>
                <a:defRPr>
                  <a:solidFill>
                    <a:schemeClr val="tx1"/>
                  </a:solidFill>
                  <a:latin typeface="Tw Cen MT" pitchFamily="34" charset="0"/>
                  <a:ea typeface="微软雅黑" pitchFamily="34" charset="-122"/>
                </a:defRPr>
              </a:lvl6pPr>
              <a:lvl7pPr defTabSz="0" fontAlgn="base">
                <a:spcBef>
                  <a:spcPct val="0"/>
                </a:spcBef>
                <a:spcAft>
                  <a:spcPct val="0"/>
                </a:spcAft>
                <a:buFont typeface="Arial" pitchFamily="34" charset="0"/>
                <a:tabLst>
                  <a:tab pos="266700" algn="l"/>
                </a:tabLst>
                <a:defRPr>
                  <a:solidFill>
                    <a:schemeClr val="tx1"/>
                  </a:solidFill>
                  <a:latin typeface="Tw Cen MT" pitchFamily="34" charset="0"/>
                  <a:ea typeface="微软雅黑" pitchFamily="34" charset="-122"/>
                </a:defRPr>
              </a:lvl7pPr>
              <a:lvl8pPr defTabSz="0" fontAlgn="base">
                <a:spcBef>
                  <a:spcPct val="0"/>
                </a:spcBef>
                <a:spcAft>
                  <a:spcPct val="0"/>
                </a:spcAft>
                <a:buFont typeface="Arial" pitchFamily="34" charset="0"/>
                <a:tabLst>
                  <a:tab pos="266700" algn="l"/>
                </a:tabLst>
                <a:defRPr>
                  <a:solidFill>
                    <a:schemeClr val="tx1"/>
                  </a:solidFill>
                  <a:latin typeface="Tw Cen MT" pitchFamily="34" charset="0"/>
                  <a:ea typeface="微软雅黑" pitchFamily="34" charset="-122"/>
                </a:defRPr>
              </a:lvl8pPr>
              <a:lvl9pPr defTabSz="0" fontAlgn="base">
                <a:spcBef>
                  <a:spcPct val="0"/>
                </a:spcBef>
                <a:spcAft>
                  <a:spcPct val="0"/>
                </a:spcAft>
                <a:buFont typeface="Arial" pitchFamily="34" charset="0"/>
                <a:tabLst>
                  <a:tab pos="266700" algn="l"/>
                </a:tabLst>
                <a:defRPr>
                  <a:solidFill>
                    <a:schemeClr val="tx1"/>
                  </a:solidFill>
                  <a:latin typeface="Tw Cen MT" pitchFamily="34" charset="0"/>
                  <a:ea typeface="微软雅黑" pitchFamily="34" charset="-122"/>
                </a:defRPr>
              </a:lvl9pPr>
            </a:lstStyle>
            <a:p>
              <a:pPr>
                <a:buFont typeface="Arial" pitchFamily="34" charset="0"/>
                <a:buChar char="•"/>
              </a:pPr>
              <a:r>
                <a:rPr lang="zh-CN" altLang="en-US" sz="1600">
                  <a:solidFill>
                    <a:srgbClr val="FFFFFF"/>
                  </a:solidFill>
                  <a:latin typeface="微软雅黑" pitchFamily="34" charset="-122"/>
                </a:rPr>
                <a:t>  一系列期望性行为，如：及时提供准确信息</a:t>
              </a:r>
              <a:endParaRPr lang="zh-CN" altLang="en-US" sz="1600">
                <a:latin typeface="微软雅黑" pitchFamily="34" charset="-122"/>
              </a:endParaRPr>
            </a:p>
            <a:p>
              <a:pPr eaLnBrk="0" hangingPunct="0">
                <a:buFont typeface="Arial" pitchFamily="34" charset="0"/>
                <a:buChar char="•"/>
              </a:pPr>
              <a:r>
                <a:rPr lang="zh-CN" altLang="en-US" sz="1600">
                  <a:solidFill>
                    <a:srgbClr val="FFFFFF"/>
                  </a:solidFill>
                  <a:latin typeface="微软雅黑" pitchFamily="34" charset="-122"/>
                </a:rPr>
                <a:t>  一系列强制性行为，如：不欺骗</a:t>
              </a:r>
              <a:endParaRPr lang="zh-CN" altLang="en-US" sz="1600">
                <a:latin typeface="微软雅黑" pitchFamily="34" charset="-122"/>
              </a:endParaRPr>
            </a:p>
          </p:txBody>
        </p:sp>
        <p:sp>
          <p:nvSpPr>
            <p:cNvPr id="30818" name="Rectangle 15"/>
            <p:cNvSpPr>
              <a:spLocks noChangeArrowheads="1"/>
            </p:cNvSpPr>
            <p:nvPr/>
          </p:nvSpPr>
          <p:spPr bwMode="auto">
            <a:xfrm>
              <a:off x="4523" y="1825"/>
              <a:ext cx="10116" cy="1285"/>
            </a:xfrm>
            <a:prstGeom prst="rect">
              <a:avLst/>
            </a:prstGeom>
            <a:noFill/>
            <a:ln w="9525">
              <a:solidFill>
                <a:srgbClr val="000000"/>
              </a:solidFill>
              <a:prstDash val="dash"/>
              <a:miter lim="800000"/>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lnSpc>
                  <a:spcPct val="90000"/>
                </a:lnSpc>
                <a:spcBef>
                  <a:spcPct val="20000"/>
                </a:spcBef>
                <a:buClr>
                  <a:schemeClr val="folHlink"/>
                </a:buClr>
                <a:buSzPct val="90000"/>
                <a:buFont typeface="Wingdings" pitchFamily="2" charset="2"/>
                <a:buNone/>
              </a:pPr>
              <a:endParaRPr lang="zh-CN" altLang="en-US">
                <a:latin typeface="微软雅黑" pitchFamily="34" charset="-122"/>
              </a:endParaRPr>
            </a:p>
          </p:txBody>
        </p:sp>
        <p:sp>
          <p:nvSpPr>
            <p:cNvPr id="30819" name="Rectangle 14"/>
            <p:cNvSpPr>
              <a:spLocks noChangeArrowheads="1"/>
            </p:cNvSpPr>
            <p:nvPr/>
          </p:nvSpPr>
          <p:spPr bwMode="auto">
            <a:xfrm>
              <a:off x="4523" y="3800"/>
              <a:ext cx="10116" cy="1285"/>
            </a:xfrm>
            <a:prstGeom prst="rect">
              <a:avLst/>
            </a:prstGeom>
            <a:noFill/>
            <a:ln w="9525">
              <a:solidFill>
                <a:srgbClr val="000000"/>
              </a:solidFill>
              <a:prstDash val="dash"/>
              <a:miter lim="800000"/>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lnSpc>
                  <a:spcPct val="90000"/>
                </a:lnSpc>
                <a:spcBef>
                  <a:spcPct val="20000"/>
                </a:spcBef>
                <a:buClr>
                  <a:schemeClr val="folHlink"/>
                </a:buClr>
                <a:buSzPct val="90000"/>
                <a:buFont typeface="Wingdings" pitchFamily="2" charset="2"/>
                <a:buNone/>
              </a:pPr>
              <a:endParaRPr lang="zh-CN" altLang="en-US">
                <a:latin typeface="微软雅黑" pitchFamily="34" charset="-122"/>
              </a:endParaRPr>
            </a:p>
          </p:txBody>
        </p:sp>
        <p:sp>
          <p:nvSpPr>
            <p:cNvPr id="30820" name="Rectangle 13"/>
            <p:cNvSpPr>
              <a:spLocks noChangeArrowheads="1"/>
            </p:cNvSpPr>
            <p:nvPr/>
          </p:nvSpPr>
          <p:spPr bwMode="auto">
            <a:xfrm>
              <a:off x="4344" y="5678"/>
              <a:ext cx="10295" cy="3414"/>
            </a:xfrm>
            <a:prstGeom prst="rect">
              <a:avLst/>
            </a:prstGeom>
            <a:noFill/>
            <a:ln w="9525">
              <a:solidFill>
                <a:srgbClr val="000000"/>
              </a:solidFill>
              <a:prstDash val="dash"/>
              <a:miter lim="800000"/>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lnSpc>
                  <a:spcPct val="90000"/>
                </a:lnSpc>
                <a:spcBef>
                  <a:spcPct val="20000"/>
                </a:spcBef>
                <a:buClr>
                  <a:schemeClr val="folHlink"/>
                </a:buClr>
                <a:buSzPct val="90000"/>
                <a:buFont typeface="Wingdings" pitchFamily="2" charset="2"/>
                <a:buNone/>
              </a:pPr>
              <a:endParaRPr lang="zh-CN" altLang="en-US">
                <a:latin typeface="微软雅黑" pitchFamily="34" charset="-122"/>
              </a:endParaRPr>
            </a:p>
          </p:txBody>
        </p:sp>
        <p:sp>
          <p:nvSpPr>
            <p:cNvPr id="30821" name="AutoShape 9"/>
            <p:cNvSpPr>
              <a:spLocks noChangeArrowheads="1"/>
            </p:cNvSpPr>
            <p:nvPr/>
          </p:nvSpPr>
          <p:spPr bwMode="auto">
            <a:xfrm>
              <a:off x="5566" y="2912"/>
              <a:ext cx="394" cy="1086"/>
            </a:xfrm>
            <a:prstGeom prst="downArrow">
              <a:avLst>
                <a:gd name="adj1" fmla="val 50000"/>
                <a:gd name="adj2" fmla="val 68909"/>
              </a:avLst>
            </a:prstGeom>
            <a:solidFill>
              <a:srgbClr val="FF3300"/>
            </a:solidFill>
            <a:ln w="9525">
              <a:solidFill>
                <a:srgbClr val="009999"/>
              </a:solidFill>
              <a:miter lim="800000"/>
              <a:headEnd/>
              <a:tailEnd/>
            </a:ln>
          </p:spPr>
          <p:txBody>
            <a:bodyPr vert="eaVert"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lnSpc>
                  <a:spcPct val="90000"/>
                </a:lnSpc>
                <a:spcBef>
                  <a:spcPct val="20000"/>
                </a:spcBef>
                <a:buClr>
                  <a:schemeClr val="folHlink"/>
                </a:buClr>
                <a:buSzPct val="90000"/>
                <a:buFont typeface="Wingdings" pitchFamily="2" charset="2"/>
                <a:buNone/>
              </a:pPr>
              <a:endParaRPr lang="zh-CN" altLang="en-US">
                <a:latin typeface="微软雅黑" pitchFamily="34" charset="-122"/>
              </a:endParaRPr>
            </a:p>
          </p:txBody>
        </p:sp>
        <p:sp>
          <p:nvSpPr>
            <p:cNvPr id="30822" name="AutoShape 8"/>
            <p:cNvSpPr>
              <a:spLocks noChangeArrowheads="1"/>
            </p:cNvSpPr>
            <p:nvPr/>
          </p:nvSpPr>
          <p:spPr bwMode="auto">
            <a:xfrm>
              <a:off x="5469" y="4886"/>
              <a:ext cx="393" cy="1087"/>
            </a:xfrm>
            <a:prstGeom prst="downArrow">
              <a:avLst>
                <a:gd name="adj1" fmla="val 50000"/>
                <a:gd name="adj2" fmla="val 69148"/>
              </a:avLst>
            </a:prstGeom>
            <a:solidFill>
              <a:srgbClr val="FF3300"/>
            </a:solidFill>
            <a:ln w="9525">
              <a:solidFill>
                <a:srgbClr val="009999"/>
              </a:solidFill>
              <a:miter lim="800000"/>
              <a:headEnd/>
              <a:tailEnd/>
            </a:ln>
          </p:spPr>
          <p:txBody>
            <a:bodyPr vert="eaVert"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lnSpc>
                  <a:spcPct val="90000"/>
                </a:lnSpc>
                <a:spcBef>
                  <a:spcPct val="20000"/>
                </a:spcBef>
                <a:buClr>
                  <a:schemeClr val="folHlink"/>
                </a:buClr>
                <a:buSzPct val="90000"/>
                <a:buFont typeface="Wingdings" pitchFamily="2" charset="2"/>
                <a:buNone/>
              </a:pPr>
              <a:endParaRPr lang="zh-CN" altLang="en-US">
                <a:latin typeface="微软雅黑" pitchFamily="34" charset="-122"/>
              </a:endParaRPr>
            </a:p>
          </p:txBody>
        </p:sp>
        <p:sp>
          <p:nvSpPr>
            <p:cNvPr id="30823" name="AutoShape 7"/>
            <p:cNvSpPr>
              <a:spLocks noChangeArrowheads="1"/>
            </p:cNvSpPr>
            <p:nvPr/>
          </p:nvSpPr>
          <p:spPr bwMode="auto">
            <a:xfrm>
              <a:off x="8130" y="2912"/>
              <a:ext cx="393" cy="1086"/>
            </a:xfrm>
            <a:prstGeom prst="downArrow">
              <a:avLst>
                <a:gd name="adj1" fmla="val 50000"/>
                <a:gd name="adj2" fmla="val 69084"/>
              </a:avLst>
            </a:prstGeom>
            <a:solidFill>
              <a:srgbClr val="FF3300"/>
            </a:solidFill>
            <a:ln w="9525">
              <a:solidFill>
                <a:srgbClr val="009999"/>
              </a:solidFill>
              <a:miter lim="800000"/>
              <a:headEnd/>
              <a:tailEnd/>
            </a:ln>
          </p:spPr>
          <p:txBody>
            <a:bodyPr vert="eaVert"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lnSpc>
                  <a:spcPct val="90000"/>
                </a:lnSpc>
                <a:spcBef>
                  <a:spcPct val="20000"/>
                </a:spcBef>
                <a:buClr>
                  <a:schemeClr val="folHlink"/>
                </a:buClr>
                <a:buSzPct val="90000"/>
                <a:buFont typeface="Wingdings" pitchFamily="2" charset="2"/>
                <a:buNone/>
              </a:pPr>
              <a:endParaRPr lang="zh-CN" altLang="en-US">
                <a:latin typeface="微软雅黑" pitchFamily="34" charset="-122"/>
              </a:endParaRPr>
            </a:p>
          </p:txBody>
        </p:sp>
        <p:sp>
          <p:nvSpPr>
            <p:cNvPr id="30824" name="AutoShape 6"/>
            <p:cNvSpPr>
              <a:spLocks noChangeArrowheads="1"/>
            </p:cNvSpPr>
            <p:nvPr/>
          </p:nvSpPr>
          <p:spPr bwMode="auto">
            <a:xfrm>
              <a:off x="10793" y="2912"/>
              <a:ext cx="394" cy="1086"/>
            </a:xfrm>
            <a:prstGeom prst="downArrow">
              <a:avLst>
                <a:gd name="adj1" fmla="val 50000"/>
                <a:gd name="adj2" fmla="val 68909"/>
              </a:avLst>
            </a:prstGeom>
            <a:solidFill>
              <a:srgbClr val="FF3300"/>
            </a:solidFill>
            <a:ln w="9525">
              <a:solidFill>
                <a:srgbClr val="009999"/>
              </a:solidFill>
              <a:miter lim="800000"/>
              <a:headEnd/>
              <a:tailEnd/>
            </a:ln>
          </p:spPr>
          <p:txBody>
            <a:bodyPr vert="eaVert"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lnSpc>
                  <a:spcPct val="90000"/>
                </a:lnSpc>
                <a:spcBef>
                  <a:spcPct val="20000"/>
                </a:spcBef>
                <a:buClr>
                  <a:schemeClr val="folHlink"/>
                </a:buClr>
                <a:buSzPct val="90000"/>
                <a:buFont typeface="Wingdings" pitchFamily="2" charset="2"/>
                <a:buNone/>
              </a:pPr>
              <a:endParaRPr lang="zh-CN" altLang="en-US">
                <a:latin typeface="微软雅黑" pitchFamily="34" charset="-122"/>
              </a:endParaRPr>
            </a:p>
          </p:txBody>
        </p:sp>
        <p:sp>
          <p:nvSpPr>
            <p:cNvPr id="30825" name="AutoShape 5"/>
            <p:cNvSpPr>
              <a:spLocks noChangeArrowheads="1"/>
            </p:cNvSpPr>
            <p:nvPr/>
          </p:nvSpPr>
          <p:spPr bwMode="auto">
            <a:xfrm>
              <a:off x="13356" y="2912"/>
              <a:ext cx="393" cy="1086"/>
            </a:xfrm>
            <a:prstGeom prst="downArrow">
              <a:avLst>
                <a:gd name="adj1" fmla="val 50000"/>
                <a:gd name="adj2" fmla="val 69084"/>
              </a:avLst>
            </a:prstGeom>
            <a:solidFill>
              <a:srgbClr val="FF3300"/>
            </a:solidFill>
            <a:ln w="9525">
              <a:solidFill>
                <a:srgbClr val="009999"/>
              </a:solidFill>
              <a:miter lim="800000"/>
              <a:headEnd/>
              <a:tailEnd/>
            </a:ln>
          </p:spPr>
          <p:txBody>
            <a:bodyPr vert="eaVert"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lnSpc>
                  <a:spcPct val="90000"/>
                </a:lnSpc>
                <a:spcBef>
                  <a:spcPct val="20000"/>
                </a:spcBef>
                <a:buClr>
                  <a:schemeClr val="folHlink"/>
                </a:buClr>
                <a:buSzPct val="90000"/>
                <a:buFont typeface="Wingdings" pitchFamily="2" charset="2"/>
                <a:buNone/>
              </a:pPr>
              <a:endParaRPr lang="zh-CN" altLang="en-US">
                <a:latin typeface="微软雅黑" pitchFamily="34" charset="-122"/>
              </a:endParaRPr>
            </a:p>
          </p:txBody>
        </p:sp>
        <p:sp>
          <p:nvSpPr>
            <p:cNvPr id="30826" name="AutoShape 4"/>
            <p:cNvSpPr>
              <a:spLocks noChangeArrowheads="1"/>
            </p:cNvSpPr>
            <p:nvPr/>
          </p:nvSpPr>
          <p:spPr bwMode="auto">
            <a:xfrm>
              <a:off x="13356" y="4886"/>
              <a:ext cx="393" cy="1087"/>
            </a:xfrm>
            <a:prstGeom prst="downArrow">
              <a:avLst>
                <a:gd name="adj1" fmla="val 50000"/>
                <a:gd name="adj2" fmla="val 69148"/>
              </a:avLst>
            </a:prstGeom>
            <a:solidFill>
              <a:srgbClr val="FF3300"/>
            </a:solidFill>
            <a:ln w="9525">
              <a:solidFill>
                <a:srgbClr val="009999"/>
              </a:solidFill>
              <a:miter lim="800000"/>
              <a:headEnd/>
              <a:tailEnd/>
            </a:ln>
          </p:spPr>
          <p:txBody>
            <a:bodyPr vert="eaVert"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lnSpc>
                  <a:spcPct val="90000"/>
                </a:lnSpc>
                <a:spcBef>
                  <a:spcPct val="20000"/>
                </a:spcBef>
                <a:buClr>
                  <a:schemeClr val="folHlink"/>
                </a:buClr>
                <a:buSzPct val="90000"/>
                <a:buFont typeface="Wingdings" pitchFamily="2" charset="2"/>
                <a:buNone/>
              </a:pPr>
              <a:endParaRPr lang="zh-CN" altLang="en-US">
                <a:latin typeface="微软雅黑" pitchFamily="34" charset="-122"/>
              </a:endParaRPr>
            </a:p>
          </p:txBody>
        </p:sp>
        <p:sp>
          <p:nvSpPr>
            <p:cNvPr id="30827" name="AutoShape 3"/>
            <p:cNvSpPr>
              <a:spLocks noChangeArrowheads="1"/>
            </p:cNvSpPr>
            <p:nvPr/>
          </p:nvSpPr>
          <p:spPr bwMode="auto">
            <a:xfrm>
              <a:off x="10793" y="4886"/>
              <a:ext cx="394" cy="1087"/>
            </a:xfrm>
            <a:prstGeom prst="downArrow">
              <a:avLst>
                <a:gd name="adj1" fmla="val 50000"/>
                <a:gd name="adj2" fmla="val 68959"/>
              </a:avLst>
            </a:prstGeom>
            <a:solidFill>
              <a:srgbClr val="FF3300"/>
            </a:solidFill>
            <a:ln w="9525">
              <a:solidFill>
                <a:srgbClr val="009999"/>
              </a:solidFill>
              <a:miter lim="800000"/>
              <a:headEnd/>
              <a:tailEnd/>
            </a:ln>
          </p:spPr>
          <p:txBody>
            <a:bodyPr vert="eaVert"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lnSpc>
                  <a:spcPct val="90000"/>
                </a:lnSpc>
                <a:spcBef>
                  <a:spcPct val="20000"/>
                </a:spcBef>
                <a:buClr>
                  <a:schemeClr val="folHlink"/>
                </a:buClr>
                <a:buSzPct val="90000"/>
                <a:buFont typeface="Wingdings" pitchFamily="2" charset="2"/>
                <a:buNone/>
              </a:pPr>
              <a:endParaRPr lang="zh-CN" altLang="en-US">
                <a:latin typeface="微软雅黑" pitchFamily="34" charset="-122"/>
              </a:endParaRPr>
            </a:p>
          </p:txBody>
        </p:sp>
        <p:sp>
          <p:nvSpPr>
            <p:cNvPr id="30828" name="AutoShape 2"/>
            <p:cNvSpPr>
              <a:spLocks noChangeArrowheads="1"/>
            </p:cNvSpPr>
            <p:nvPr/>
          </p:nvSpPr>
          <p:spPr bwMode="auto">
            <a:xfrm>
              <a:off x="8130" y="4886"/>
              <a:ext cx="393" cy="1087"/>
            </a:xfrm>
            <a:prstGeom prst="downArrow">
              <a:avLst>
                <a:gd name="adj1" fmla="val 50000"/>
                <a:gd name="adj2" fmla="val 69148"/>
              </a:avLst>
            </a:prstGeom>
            <a:solidFill>
              <a:srgbClr val="FF3300"/>
            </a:solidFill>
            <a:ln w="9525">
              <a:solidFill>
                <a:srgbClr val="009999"/>
              </a:solidFill>
              <a:miter lim="800000"/>
              <a:headEnd/>
              <a:tailEnd/>
            </a:ln>
          </p:spPr>
          <p:txBody>
            <a:bodyPr vert="eaVert"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lnSpc>
                  <a:spcPct val="90000"/>
                </a:lnSpc>
                <a:spcBef>
                  <a:spcPct val="20000"/>
                </a:spcBef>
                <a:buClr>
                  <a:schemeClr val="folHlink"/>
                </a:buClr>
                <a:buSzPct val="90000"/>
                <a:buFont typeface="Wingdings" pitchFamily="2" charset="2"/>
                <a:buNone/>
              </a:pPr>
              <a:endParaRPr lang="zh-CN" altLang="en-US">
                <a:latin typeface="微软雅黑" pitchFamily="34" charset="-122"/>
              </a:endParaRPr>
            </a:p>
          </p:txBody>
        </p:sp>
      </p:grpSp>
      <p:sp>
        <p:nvSpPr>
          <p:cNvPr id="30829" name="Text Box 12"/>
          <p:cNvSpPr txBox="1">
            <a:spLocks noChangeArrowheads="1"/>
          </p:cNvSpPr>
          <p:nvPr/>
        </p:nvSpPr>
        <p:spPr bwMode="auto">
          <a:xfrm>
            <a:off x="554038" y="1343025"/>
            <a:ext cx="1233487"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3949" tIns="26975" rIns="53949" bIns="26975"/>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en-US" sz="2000" b="1">
                <a:solidFill>
                  <a:srgbClr val="000000"/>
                </a:solidFill>
                <a:latin typeface="微软雅黑" pitchFamily="34" charset="-122"/>
              </a:rPr>
              <a:t>价</a:t>
            </a:r>
          </a:p>
          <a:p>
            <a:r>
              <a:rPr lang="zh-CN" altLang="en-US" sz="2000" b="1">
                <a:solidFill>
                  <a:srgbClr val="000000"/>
                </a:solidFill>
                <a:latin typeface="微软雅黑" pitchFamily="34" charset="-122"/>
              </a:rPr>
              <a:t>值</a:t>
            </a:r>
          </a:p>
          <a:p>
            <a:r>
              <a:rPr lang="zh-CN" altLang="en-US" sz="2000" b="1">
                <a:solidFill>
                  <a:srgbClr val="000000"/>
                </a:solidFill>
                <a:latin typeface="微软雅黑" pitchFamily="34" charset="-122"/>
              </a:rPr>
              <a:t>观</a:t>
            </a:r>
            <a:endParaRPr lang="zh-CN" altLang="en-US" sz="4400" b="1">
              <a:latin typeface="微软雅黑" pitchFamily="34" charset="-122"/>
            </a:endParaRPr>
          </a:p>
        </p:txBody>
      </p:sp>
      <p:sp>
        <p:nvSpPr>
          <p:cNvPr id="30830" name="Text Box 11"/>
          <p:cNvSpPr txBox="1">
            <a:spLocks noChangeArrowheads="1"/>
          </p:cNvSpPr>
          <p:nvPr/>
        </p:nvSpPr>
        <p:spPr bwMode="auto">
          <a:xfrm>
            <a:off x="554038" y="2722563"/>
            <a:ext cx="10160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3949" tIns="26975" rIns="53949" bIns="26975"/>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en-US" sz="2000" b="1">
                <a:solidFill>
                  <a:srgbClr val="FF3300"/>
                </a:solidFill>
                <a:latin typeface="微软雅黑" pitchFamily="34" charset="-122"/>
              </a:rPr>
              <a:t>定</a:t>
            </a:r>
          </a:p>
          <a:p>
            <a:r>
              <a:rPr lang="zh-CN" altLang="en-US" sz="2000" b="1">
                <a:solidFill>
                  <a:srgbClr val="FF3300"/>
                </a:solidFill>
                <a:latin typeface="微软雅黑" pitchFamily="34" charset="-122"/>
              </a:rPr>
              <a:t>义</a:t>
            </a:r>
            <a:endParaRPr lang="zh-CN" altLang="en-US" sz="4400" b="1">
              <a:latin typeface="微软雅黑" pitchFamily="34" charset="-122"/>
            </a:endParaRPr>
          </a:p>
        </p:txBody>
      </p:sp>
      <p:sp>
        <p:nvSpPr>
          <p:cNvPr id="30831" name="Text Box 10"/>
          <p:cNvSpPr txBox="1">
            <a:spLocks noChangeArrowheads="1"/>
          </p:cNvSpPr>
          <p:nvPr/>
        </p:nvSpPr>
        <p:spPr bwMode="auto">
          <a:xfrm>
            <a:off x="554038" y="4795838"/>
            <a:ext cx="1038225"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3949" tIns="26975" rIns="53949" bIns="26975"/>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en-US" sz="2000" b="1">
                <a:solidFill>
                  <a:srgbClr val="FF00FF"/>
                </a:solidFill>
                <a:latin typeface="微软雅黑" pitchFamily="34" charset="-122"/>
              </a:rPr>
              <a:t>行</a:t>
            </a:r>
          </a:p>
          <a:p>
            <a:r>
              <a:rPr lang="zh-CN" altLang="en-US" sz="2000" b="1">
                <a:solidFill>
                  <a:srgbClr val="FF00FF"/>
                </a:solidFill>
                <a:latin typeface="微软雅黑" pitchFamily="34" charset="-122"/>
              </a:rPr>
              <a:t>为</a:t>
            </a:r>
            <a:endParaRPr lang="zh-CN" altLang="en-US" sz="4400" b="1">
              <a:latin typeface="微软雅黑" pitchFamily="34" charset="-122"/>
            </a:endParaRPr>
          </a:p>
        </p:txBody>
      </p:sp>
      <p:sp>
        <p:nvSpPr>
          <p:cNvPr id="30832" name="Rectangle 2"/>
          <p:cNvSpPr>
            <a:spLocks noGrp="1" noChangeArrowheads="1"/>
          </p:cNvSpPr>
          <p:nvPr>
            <p:ph type="title"/>
          </p:nvPr>
        </p:nvSpPr>
        <p:spPr>
          <a:xfrm>
            <a:off x="492125" y="452438"/>
            <a:ext cx="8940800" cy="563562"/>
          </a:xfrm>
        </p:spPr>
        <p:txBody>
          <a:bodyPr/>
          <a:lstStyle/>
          <a:p>
            <a:pPr eaLnBrk="1" hangingPunct="1"/>
            <a:r>
              <a:rPr altLang="zh-CN" smtClean="0"/>
              <a:t>道德与专业行为规范</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3"/>
          <p:cNvSpPr>
            <a:spLocks noGrp="1" noChangeArrowheads="1"/>
          </p:cNvSpPr>
          <p:nvPr>
            <p:ph idx="1"/>
          </p:nvPr>
        </p:nvSpPr>
        <p:spPr>
          <a:xfrm>
            <a:off x="465138" y="952500"/>
            <a:ext cx="8486775" cy="5649913"/>
          </a:xfrm>
        </p:spPr>
        <p:txBody>
          <a:bodyPr/>
          <a:lstStyle/>
          <a:p>
            <a:pPr eaLnBrk="1" hangingPunct="1">
              <a:lnSpc>
                <a:spcPct val="150000"/>
              </a:lnSpc>
              <a:spcBef>
                <a:spcPct val="0"/>
              </a:spcBef>
              <a:buClr>
                <a:srgbClr val="C00000"/>
              </a:buClr>
              <a:buFont typeface="Wingdings" pitchFamily="2" charset="2"/>
              <a:buChar char="v"/>
            </a:pPr>
            <a:r>
              <a:rPr lang="zh-CN" altLang="en-US" b="1" smtClean="0"/>
              <a:t>项目的定义</a:t>
            </a:r>
          </a:p>
          <a:p>
            <a:pPr lvl="1" eaLnBrk="1" hangingPunct="1">
              <a:lnSpc>
                <a:spcPct val="150000"/>
              </a:lnSpc>
              <a:spcBef>
                <a:spcPct val="0"/>
              </a:spcBef>
            </a:pPr>
            <a:r>
              <a:rPr lang="zh-CN" altLang="en-US" sz="2100" smtClean="0"/>
              <a:t>目是为创建</a:t>
            </a:r>
            <a:r>
              <a:rPr lang="zh-CN" altLang="en-US" sz="2100" b="1" i="1" smtClean="0">
                <a:solidFill>
                  <a:srgbClr val="FF0000"/>
                </a:solidFill>
              </a:rPr>
              <a:t>某一独特产品、服务或成果</a:t>
            </a:r>
            <a:r>
              <a:rPr lang="zh-CN" altLang="en-US" sz="2100" smtClean="0"/>
              <a:t>而临时进行的</a:t>
            </a:r>
            <a:r>
              <a:rPr lang="zh-CN" altLang="en-US" sz="2100" b="1" i="1" smtClean="0">
                <a:solidFill>
                  <a:srgbClr val="FF0000"/>
                </a:solidFill>
              </a:rPr>
              <a:t>一次性努力或工作。</a:t>
            </a:r>
          </a:p>
          <a:p>
            <a:pPr lvl="1" eaLnBrk="1" hangingPunct="1">
              <a:lnSpc>
                <a:spcPct val="150000"/>
              </a:lnSpc>
              <a:spcBef>
                <a:spcPct val="0"/>
              </a:spcBef>
            </a:pPr>
            <a:endParaRPr lang="zh-CN" altLang="en-US" sz="2000" smtClean="0"/>
          </a:p>
          <a:p>
            <a:pPr eaLnBrk="1" hangingPunct="1">
              <a:lnSpc>
                <a:spcPct val="150000"/>
              </a:lnSpc>
              <a:spcBef>
                <a:spcPct val="0"/>
              </a:spcBef>
              <a:buClr>
                <a:srgbClr val="C00000"/>
              </a:buClr>
              <a:buFont typeface="Wingdings" pitchFamily="2" charset="2"/>
              <a:buChar char="v"/>
            </a:pPr>
            <a:r>
              <a:rPr lang="zh-CN" altLang="en-US" b="1" smtClean="0"/>
              <a:t>项目的特点</a:t>
            </a:r>
          </a:p>
          <a:p>
            <a:pPr lvl="1" eaLnBrk="1" hangingPunct="1">
              <a:lnSpc>
                <a:spcPct val="150000"/>
              </a:lnSpc>
              <a:spcBef>
                <a:spcPct val="0"/>
              </a:spcBef>
            </a:pPr>
            <a:endParaRPr lang="en-US" altLang="zh-CN" sz="2100" b="1" i="1" smtClean="0">
              <a:solidFill>
                <a:srgbClr val="FF0000"/>
              </a:solidFill>
            </a:endParaRPr>
          </a:p>
          <a:p>
            <a:pPr lvl="1" eaLnBrk="1" hangingPunct="1">
              <a:lnSpc>
                <a:spcPct val="150000"/>
              </a:lnSpc>
              <a:spcBef>
                <a:spcPct val="0"/>
              </a:spcBef>
            </a:pPr>
            <a:r>
              <a:rPr lang="zh-CN" altLang="en-US" sz="2100" b="1" i="1" smtClean="0">
                <a:solidFill>
                  <a:srgbClr val="FF0000"/>
                </a:solidFill>
              </a:rPr>
              <a:t>临时性、独特性、渐进明细</a:t>
            </a:r>
            <a:endParaRPr lang="zh-CN" altLang="en-US" sz="1800" b="1" smtClean="0">
              <a:solidFill>
                <a:srgbClr val="C00000"/>
              </a:solidFill>
            </a:endParaRPr>
          </a:p>
        </p:txBody>
      </p:sp>
      <p:pic>
        <p:nvPicPr>
          <p:cNvPr id="32770" name="Picture 8" descr="j023413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84725" y="2376488"/>
            <a:ext cx="1150938" cy="1223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2771" name="组合 4"/>
          <p:cNvGrpSpPr>
            <a:grpSpLocks/>
          </p:cNvGrpSpPr>
          <p:nvPr/>
        </p:nvGrpSpPr>
        <p:grpSpPr bwMode="auto">
          <a:xfrm>
            <a:off x="4689475" y="3578225"/>
            <a:ext cx="4262438" cy="2757488"/>
            <a:chOff x="591369" y="1969741"/>
            <a:chExt cx="7572375" cy="4687324"/>
          </a:xfrm>
        </p:grpSpPr>
        <p:sp>
          <p:nvSpPr>
            <p:cNvPr id="7" name="Freeform 2"/>
            <p:cNvSpPr/>
            <p:nvPr/>
          </p:nvSpPr>
          <p:spPr bwMode="blackWhite">
            <a:xfrm>
              <a:off x="591369" y="1969741"/>
              <a:ext cx="6029697" cy="3270602"/>
            </a:xfrm>
            <a:custGeom>
              <a:avLst/>
              <a:gdLst>
                <a:gd name="T0" fmla="*/ 0 w 4263"/>
                <a:gd name="T1" fmla="*/ 991 h 2383"/>
                <a:gd name="T2" fmla="*/ 3750 w 4263"/>
                <a:gd name="T3" fmla="*/ 991 h 2383"/>
                <a:gd name="T4" fmla="*/ 3207 w 4263"/>
                <a:gd name="T5" fmla="*/ 0 h 2383"/>
                <a:gd name="T6" fmla="*/ 3630 w 4263"/>
                <a:gd name="T7" fmla="*/ 0 h 2383"/>
                <a:gd name="T8" fmla="*/ 4262 w 4263"/>
                <a:gd name="T9" fmla="*/ 1207 h 2383"/>
                <a:gd name="T10" fmla="*/ 3630 w 4263"/>
                <a:gd name="T11" fmla="*/ 2382 h 2383"/>
                <a:gd name="T12" fmla="*/ 3254 w 4263"/>
                <a:gd name="T13" fmla="*/ 2382 h 2383"/>
                <a:gd name="T14" fmla="*/ 3774 w 4263"/>
                <a:gd name="T15" fmla="*/ 1391 h 2383"/>
                <a:gd name="T16" fmla="*/ 0 w 4263"/>
                <a:gd name="T17" fmla="*/ 1391 h 2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3" h="2383">
                  <a:moveTo>
                    <a:pt x="0" y="991"/>
                  </a:moveTo>
                  <a:lnTo>
                    <a:pt x="3750" y="991"/>
                  </a:lnTo>
                  <a:lnTo>
                    <a:pt x="3207" y="0"/>
                  </a:lnTo>
                  <a:lnTo>
                    <a:pt x="3630" y="0"/>
                  </a:lnTo>
                  <a:lnTo>
                    <a:pt x="4262" y="1207"/>
                  </a:lnTo>
                  <a:lnTo>
                    <a:pt x="3630" y="2382"/>
                  </a:lnTo>
                  <a:lnTo>
                    <a:pt x="3254" y="2382"/>
                  </a:lnTo>
                  <a:lnTo>
                    <a:pt x="3774" y="1391"/>
                  </a:lnTo>
                  <a:lnTo>
                    <a:pt x="0" y="1391"/>
                  </a:lnTo>
                </a:path>
              </a:pathLst>
            </a:custGeom>
            <a:solidFill>
              <a:schemeClr val="accent2">
                <a:lumMod val="60000"/>
                <a:lumOff val="40000"/>
              </a:schemeClr>
            </a:solidFill>
            <a:ln w="12700" cap="rnd" cmpd="sng">
              <a:prstDash val="solid"/>
              <a:round/>
              <a:headEnd type="none" w="med" len="med"/>
              <a:tailEnd type="none" w="med" len="med"/>
            </a:ln>
            <a:effectLst/>
            <a:scene3d>
              <a:camera prst="legacyObliqueTopLeft"/>
              <a:lightRig rig="legacyFlat2" dir="t"/>
            </a:scene3d>
            <a:sp3d extrusionH="303200" prstMaterial="legacyMatte">
              <a:bevelT w="13500" h="13500" prst="angle"/>
              <a:bevelB w="13500" h="13500" prst="angle"/>
              <a:extrusionClr>
                <a:schemeClr val="accent2"/>
              </a:extrusionClr>
            </a:sp3d>
          </p:spPr>
          <p:txBody>
            <a:bodyPr>
              <a:flatTx/>
            </a:bodyPr>
            <a:lstStyle/>
            <a:p>
              <a:pPr fontAlgn="auto">
                <a:spcBef>
                  <a:spcPts val="0"/>
                </a:spcBef>
                <a:spcAft>
                  <a:spcPts val="0"/>
                </a:spcAft>
                <a:buFontTx/>
                <a:buNone/>
                <a:defRPr/>
              </a:pPr>
              <a:endParaRPr lang="zh-CN" altLang="en-US">
                <a:latin typeface="+mn-lt"/>
                <a:ea typeface="+mn-ea"/>
              </a:endParaRPr>
            </a:p>
          </p:txBody>
        </p:sp>
        <p:sp>
          <p:nvSpPr>
            <p:cNvPr id="8" name="Freeform 3"/>
            <p:cNvSpPr/>
            <p:nvPr/>
          </p:nvSpPr>
          <p:spPr bwMode="blackWhite">
            <a:xfrm>
              <a:off x="591369" y="1969741"/>
              <a:ext cx="5034149" cy="1230524"/>
            </a:xfrm>
            <a:custGeom>
              <a:avLst/>
              <a:gdLst>
                <a:gd name="T0" fmla="*/ 0 w 3559"/>
                <a:gd name="T1" fmla="*/ 496 h 896"/>
                <a:gd name="T2" fmla="*/ 2943 w 3559"/>
                <a:gd name="T3" fmla="*/ 496 h 896"/>
                <a:gd name="T4" fmla="*/ 2663 w 3559"/>
                <a:gd name="T5" fmla="*/ 0 h 896"/>
                <a:gd name="T6" fmla="*/ 3063 w 3559"/>
                <a:gd name="T7" fmla="*/ 0 h 896"/>
                <a:gd name="T8" fmla="*/ 3558 w 3559"/>
                <a:gd name="T9" fmla="*/ 895 h 896"/>
                <a:gd name="T10" fmla="*/ 0 w 3559"/>
                <a:gd name="T11" fmla="*/ 895 h 896"/>
              </a:gdLst>
              <a:ahLst/>
              <a:cxnLst>
                <a:cxn ang="0">
                  <a:pos x="T0" y="T1"/>
                </a:cxn>
                <a:cxn ang="0">
                  <a:pos x="T2" y="T3"/>
                </a:cxn>
                <a:cxn ang="0">
                  <a:pos x="T4" y="T5"/>
                </a:cxn>
                <a:cxn ang="0">
                  <a:pos x="T6" y="T7"/>
                </a:cxn>
                <a:cxn ang="0">
                  <a:pos x="T8" y="T9"/>
                </a:cxn>
                <a:cxn ang="0">
                  <a:pos x="T10" y="T11"/>
                </a:cxn>
              </a:cxnLst>
              <a:rect l="0" t="0" r="r" b="b"/>
              <a:pathLst>
                <a:path w="3559" h="896">
                  <a:moveTo>
                    <a:pt x="0" y="496"/>
                  </a:moveTo>
                  <a:lnTo>
                    <a:pt x="2943" y="496"/>
                  </a:lnTo>
                  <a:lnTo>
                    <a:pt x="2663" y="0"/>
                  </a:lnTo>
                  <a:lnTo>
                    <a:pt x="3063" y="0"/>
                  </a:lnTo>
                  <a:lnTo>
                    <a:pt x="3558" y="895"/>
                  </a:lnTo>
                  <a:lnTo>
                    <a:pt x="0" y="895"/>
                  </a:lnTo>
                </a:path>
              </a:pathLst>
            </a:custGeom>
            <a:solidFill>
              <a:schemeClr val="accent2">
                <a:lumMod val="60000"/>
                <a:lumOff val="40000"/>
              </a:schemeClr>
            </a:solidFill>
            <a:ln w="12700" cap="rnd" cmpd="sng">
              <a:prstDash val="solid"/>
              <a:round/>
              <a:headEnd type="none" w="med" len="med"/>
              <a:tailEnd type="none" w="med" len="med"/>
            </a:ln>
            <a:effectLst/>
            <a:scene3d>
              <a:camera prst="legacyObliqueTopLeft"/>
              <a:lightRig rig="legacyFlat2" dir="t"/>
            </a:scene3d>
            <a:sp3d extrusionH="303200" prstMaterial="legacyMatte">
              <a:bevelT w="13500" h="13500" prst="angle"/>
              <a:bevelB w="13500" h="13500" prst="angle"/>
              <a:extrusionClr>
                <a:schemeClr val="accent2"/>
              </a:extrusionClr>
            </a:sp3d>
          </p:spPr>
          <p:txBody>
            <a:bodyPr>
              <a:flatTx/>
            </a:bodyPr>
            <a:lstStyle/>
            <a:p>
              <a:pPr fontAlgn="auto">
                <a:spcBef>
                  <a:spcPts val="0"/>
                </a:spcBef>
                <a:spcAft>
                  <a:spcPts val="0"/>
                </a:spcAft>
                <a:buFontTx/>
                <a:buNone/>
                <a:defRPr/>
              </a:pPr>
              <a:endParaRPr lang="zh-CN" altLang="en-US">
                <a:latin typeface="+mn-lt"/>
                <a:ea typeface="+mn-ea"/>
              </a:endParaRPr>
            </a:p>
          </p:txBody>
        </p:sp>
        <p:sp>
          <p:nvSpPr>
            <p:cNvPr id="9" name="Freeform 4"/>
            <p:cNvSpPr/>
            <p:nvPr/>
          </p:nvSpPr>
          <p:spPr bwMode="blackWhite">
            <a:xfrm>
              <a:off x="591369" y="4012519"/>
              <a:ext cx="5034149" cy="1227824"/>
            </a:xfrm>
            <a:custGeom>
              <a:avLst/>
              <a:gdLst>
                <a:gd name="T0" fmla="*/ 0 w 3559"/>
                <a:gd name="T1" fmla="*/ 399 h 896"/>
                <a:gd name="T2" fmla="*/ 2943 w 3559"/>
                <a:gd name="T3" fmla="*/ 399 h 896"/>
                <a:gd name="T4" fmla="*/ 2687 w 3559"/>
                <a:gd name="T5" fmla="*/ 895 h 896"/>
                <a:gd name="T6" fmla="*/ 3087 w 3559"/>
                <a:gd name="T7" fmla="*/ 895 h 896"/>
                <a:gd name="T8" fmla="*/ 3558 w 3559"/>
                <a:gd name="T9" fmla="*/ 0 h 896"/>
                <a:gd name="T10" fmla="*/ 0 w 3559"/>
                <a:gd name="T11" fmla="*/ 0 h 896"/>
              </a:gdLst>
              <a:ahLst/>
              <a:cxnLst>
                <a:cxn ang="0">
                  <a:pos x="T0" y="T1"/>
                </a:cxn>
                <a:cxn ang="0">
                  <a:pos x="T2" y="T3"/>
                </a:cxn>
                <a:cxn ang="0">
                  <a:pos x="T4" y="T5"/>
                </a:cxn>
                <a:cxn ang="0">
                  <a:pos x="T6" y="T7"/>
                </a:cxn>
                <a:cxn ang="0">
                  <a:pos x="T8" y="T9"/>
                </a:cxn>
                <a:cxn ang="0">
                  <a:pos x="T10" y="T11"/>
                </a:cxn>
              </a:cxnLst>
              <a:rect l="0" t="0" r="r" b="b"/>
              <a:pathLst>
                <a:path w="3559" h="896">
                  <a:moveTo>
                    <a:pt x="0" y="399"/>
                  </a:moveTo>
                  <a:lnTo>
                    <a:pt x="2943" y="399"/>
                  </a:lnTo>
                  <a:lnTo>
                    <a:pt x="2687" y="895"/>
                  </a:lnTo>
                  <a:lnTo>
                    <a:pt x="3087" y="895"/>
                  </a:lnTo>
                  <a:lnTo>
                    <a:pt x="3558" y="0"/>
                  </a:lnTo>
                  <a:lnTo>
                    <a:pt x="0" y="0"/>
                  </a:lnTo>
                </a:path>
              </a:pathLst>
            </a:custGeom>
            <a:solidFill>
              <a:schemeClr val="accent2">
                <a:lumMod val="60000"/>
                <a:lumOff val="40000"/>
              </a:schemeClr>
            </a:solidFill>
            <a:ln w="12700" cap="rnd" cmpd="sng">
              <a:prstDash val="solid"/>
              <a:round/>
              <a:headEnd type="none" w="med" len="med"/>
              <a:tailEnd type="none" w="med" len="med"/>
            </a:ln>
            <a:effectLst/>
            <a:scene3d>
              <a:camera prst="legacyObliqueTopLeft"/>
              <a:lightRig rig="legacyFlat2" dir="t"/>
            </a:scene3d>
            <a:sp3d extrusionH="303200" prstMaterial="legacyMatte">
              <a:bevelT w="13500" h="13500" prst="angle"/>
              <a:bevelB w="13500" h="13500" prst="angle"/>
              <a:extrusionClr>
                <a:schemeClr val="accent2"/>
              </a:extrusionClr>
            </a:sp3d>
          </p:spPr>
          <p:txBody>
            <a:bodyPr>
              <a:flatTx/>
            </a:bodyPr>
            <a:lstStyle/>
            <a:p>
              <a:pPr fontAlgn="auto">
                <a:spcBef>
                  <a:spcPts val="0"/>
                </a:spcBef>
                <a:spcAft>
                  <a:spcPts val="0"/>
                </a:spcAft>
                <a:buFontTx/>
                <a:buNone/>
                <a:defRPr/>
              </a:pPr>
              <a:endParaRPr lang="zh-CN" altLang="en-US">
                <a:latin typeface="+mn-lt"/>
                <a:ea typeface="+mn-ea"/>
              </a:endParaRPr>
            </a:p>
          </p:txBody>
        </p:sp>
        <p:sp>
          <p:nvSpPr>
            <p:cNvPr id="32775" name="Rectangle 5"/>
            <p:cNvSpPr>
              <a:spLocks noChangeArrowheads="1"/>
            </p:cNvSpPr>
            <p:nvPr/>
          </p:nvSpPr>
          <p:spPr bwMode="auto">
            <a:xfrm>
              <a:off x="680270" y="2682805"/>
              <a:ext cx="4252913" cy="547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785813">
                <a:defRPr>
                  <a:solidFill>
                    <a:schemeClr val="tx1"/>
                  </a:solidFill>
                  <a:latin typeface="Tw Cen MT" pitchFamily="34" charset="0"/>
                  <a:ea typeface="微软雅黑" pitchFamily="34" charset="-122"/>
                </a:defRPr>
              </a:lvl1pPr>
              <a:lvl2pPr defTabSz="785813">
                <a:defRPr>
                  <a:solidFill>
                    <a:schemeClr val="tx1"/>
                  </a:solidFill>
                  <a:latin typeface="Tw Cen MT" pitchFamily="34" charset="0"/>
                  <a:ea typeface="微软雅黑" pitchFamily="34" charset="-122"/>
                </a:defRPr>
              </a:lvl2pPr>
              <a:lvl3pPr defTabSz="785813">
                <a:defRPr>
                  <a:solidFill>
                    <a:schemeClr val="tx1"/>
                  </a:solidFill>
                  <a:latin typeface="Tw Cen MT" pitchFamily="34" charset="0"/>
                  <a:ea typeface="微软雅黑" pitchFamily="34" charset="-122"/>
                </a:defRPr>
              </a:lvl3pPr>
              <a:lvl4pPr defTabSz="785813">
                <a:defRPr>
                  <a:solidFill>
                    <a:schemeClr val="tx1"/>
                  </a:solidFill>
                  <a:latin typeface="Tw Cen MT" pitchFamily="34" charset="0"/>
                  <a:ea typeface="微软雅黑" pitchFamily="34" charset="-122"/>
                </a:defRPr>
              </a:lvl4pPr>
              <a:lvl5pPr defTabSz="785813">
                <a:defRPr>
                  <a:solidFill>
                    <a:schemeClr val="tx1"/>
                  </a:solidFill>
                  <a:latin typeface="Tw Cen MT" pitchFamily="34" charset="0"/>
                  <a:ea typeface="微软雅黑" pitchFamily="34" charset="-122"/>
                </a:defRPr>
              </a:lvl5pPr>
              <a:lvl6pPr defTabSz="785813"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defTabSz="785813"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defTabSz="785813"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defTabSz="785813"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150000"/>
                </a:lnSpc>
              </a:pPr>
              <a:r>
                <a:rPr lang="zh-CN" altLang="en-US" sz="1400" b="1">
                  <a:solidFill>
                    <a:schemeClr val="bg1"/>
                  </a:solidFill>
                  <a:latin typeface="微软雅黑" pitchFamily="34" charset="-122"/>
                </a:rPr>
                <a:t>临时性 </a:t>
              </a:r>
              <a:r>
                <a:rPr lang="en-US" altLang="zh-CN" sz="1400" b="1">
                  <a:solidFill>
                    <a:schemeClr val="bg1"/>
                  </a:solidFill>
                  <a:latin typeface="微软雅黑" pitchFamily="34" charset="-122"/>
                </a:rPr>
                <a:t>temporary</a:t>
              </a:r>
            </a:p>
          </p:txBody>
        </p:sp>
        <p:sp>
          <p:nvSpPr>
            <p:cNvPr id="32776" name="Rectangle 6"/>
            <p:cNvSpPr>
              <a:spLocks noChangeArrowheads="1"/>
            </p:cNvSpPr>
            <p:nvPr/>
          </p:nvSpPr>
          <p:spPr bwMode="auto">
            <a:xfrm>
              <a:off x="680270" y="3317804"/>
              <a:ext cx="5307012" cy="547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785813">
                <a:defRPr>
                  <a:solidFill>
                    <a:schemeClr val="tx1"/>
                  </a:solidFill>
                  <a:latin typeface="Tw Cen MT" pitchFamily="34" charset="0"/>
                  <a:ea typeface="微软雅黑" pitchFamily="34" charset="-122"/>
                </a:defRPr>
              </a:lvl1pPr>
              <a:lvl2pPr defTabSz="785813">
                <a:defRPr>
                  <a:solidFill>
                    <a:schemeClr val="tx1"/>
                  </a:solidFill>
                  <a:latin typeface="Tw Cen MT" pitchFamily="34" charset="0"/>
                  <a:ea typeface="微软雅黑" pitchFamily="34" charset="-122"/>
                </a:defRPr>
              </a:lvl2pPr>
              <a:lvl3pPr defTabSz="785813">
                <a:defRPr>
                  <a:solidFill>
                    <a:schemeClr val="tx1"/>
                  </a:solidFill>
                  <a:latin typeface="Tw Cen MT" pitchFamily="34" charset="0"/>
                  <a:ea typeface="微软雅黑" pitchFamily="34" charset="-122"/>
                </a:defRPr>
              </a:lvl3pPr>
              <a:lvl4pPr defTabSz="785813">
                <a:defRPr>
                  <a:solidFill>
                    <a:schemeClr val="tx1"/>
                  </a:solidFill>
                  <a:latin typeface="Tw Cen MT" pitchFamily="34" charset="0"/>
                  <a:ea typeface="微软雅黑" pitchFamily="34" charset="-122"/>
                </a:defRPr>
              </a:lvl4pPr>
              <a:lvl5pPr defTabSz="785813">
                <a:defRPr>
                  <a:solidFill>
                    <a:schemeClr val="tx1"/>
                  </a:solidFill>
                  <a:latin typeface="Tw Cen MT" pitchFamily="34" charset="0"/>
                  <a:ea typeface="微软雅黑" pitchFamily="34" charset="-122"/>
                </a:defRPr>
              </a:lvl5pPr>
              <a:lvl6pPr defTabSz="785813"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defTabSz="785813"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defTabSz="785813"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defTabSz="785813"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150000"/>
                </a:lnSpc>
              </a:pPr>
              <a:r>
                <a:rPr lang="zh-CN" altLang="en-US" sz="1400" b="1">
                  <a:solidFill>
                    <a:schemeClr val="bg1"/>
                  </a:solidFill>
                  <a:latin typeface="微软雅黑" pitchFamily="34" charset="-122"/>
                </a:rPr>
                <a:t>独特性 </a:t>
              </a:r>
              <a:r>
                <a:rPr lang="en-US" altLang="zh-CN" sz="1400" b="1">
                  <a:solidFill>
                    <a:schemeClr val="bg1"/>
                  </a:solidFill>
                  <a:latin typeface="微软雅黑" pitchFamily="34" charset="-122"/>
                </a:rPr>
                <a:t>Uniqueness</a:t>
              </a:r>
            </a:p>
          </p:txBody>
        </p:sp>
        <p:sp>
          <p:nvSpPr>
            <p:cNvPr id="32777" name="Rectangle 7"/>
            <p:cNvSpPr>
              <a:spLocks noChangeArrowheads="1"/>
            </p:cNvSpPr>
            <p:nvPr/>
          </p:nvSpPr>
          <p:spPr bwMode="auto">
            <a:xfrm>
              <a:off x="680270" y="4003606"/>
              <a:ext cx="5307012" cy="547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785813">
                <a:defRPr>
                  <a:solidFill>
                    <a:schemeClr val="tx1"/>
                  </a:solidFill>
                  <a:latin typeface="Tw Cen MT" pitchFamily="34" charset="0"/>
                  <a:ea typeface="微软雅黑" pitchFamily="34" charset="-122"/>
                </a:defRPr>
              </a:lvl1pPr>
              <a:lvl2pPr defTabSz="785813">
                <a:defRPr>
                  <a:solidFill>
                    <a:schemeClr val="tx1"/>
                  </a:solidFill>
                  <a:latin typeface="Tw Cen MT" pitchFamily="34" charset="0"/>
                  <a:ea typeface="微软雅黑" pitchFamily="34" charset="-122"/>
                </a:defRPr>
              </a:lvl2pPr>
              <a:lvl3pPr defTabSz="785813">
                <a:defRPr>
                  <a:solidFill>
                    <a:schemeClr val="tx1"/>
                  </a:solidFill>
                  <a:latin typeface="Tw Cen MT" pitchFamily="34" charset="0"/>
                  <a:ea typeface="微软雅黑" pitchFamily="34" charset="-122"/>
                </a:defRPr>
              </a:lvl3pPr>
              <a:lvl4pPr defTabSz="785813">
                <a:defRPr>
                  <a:solidFill>
                    <a:schemeClr val="tx1"/>
                  </a:solidFill>
                  <a:latin typeface="Tw Cen MT" pitchFamily="34" charset="0"/>
                  <a:ea typeface="微软雅黑" pitchFamily="34" charset="-122"/>
                </a:defRPr>
              </a:lvl4pPr>
              <a:lvl5pPr defTabSz="785813">
                <a:defRPr>
                  <a:solidFill>
                    <a:schemeClr val="tx1"/>
                  </a:solidFill>
                  <a:latin typeface="Tw Cen MT" pitchFamily="34" charset="0"/>
                  <a:ea typeface="微软雅黑" pitchFamily="34" charset="-122"/>
                </a:defRPr>
              </a:lvl5pPr>
              <a:lvl6pPr defTabSz="785813"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defTabSz="785813"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defTabSz="785813"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defTabSz="785813"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150000"/>
                </a:lnSpc>
              </a:pPr>
              <a:r>
                <a:rPr lang="zh-CN" altLang="en-US" sz="1400" b="1">
                  <a:solidFill>
                    <a:schemeClr val="bg1"/>
                  </a:solidFill>
                  <a:latin typeface="微软雅黑" pitchFamily="34" charset="-122"/>
                </a:rPr>
                <a:t>渐进明细 </a:t>
              </a:r>
              <a:r>
                <a:rPr lang="en-US" altLang="zh-CN" sz="1400" b="1">
                  <a:solidFill>
                    <a:schemeClr val="bg1"/>
                  </a:solidFill>
                  <a:latin typeface="微软雅黑" pitchFamily="34" charset="-122"/>
                </a:rPr>
                <a:t>Progressive Elaboration</a:t>
              </a:r>
            </a:p>
          </p:txBody>
        </p:sp>
        <p:pic>
          <p:nvPicPr>
            <p:cNvPr id="32778" name="Picture 9" descr="j030525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15323" y="4828265"/>
              <a:ext cx="1138239"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9" name="Picture 10" descr="j029889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63544" y="2885728"/>
              <a:ext cx="1600200" cy="1397000"/>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32780" name="Rectangle 2"/>
          <p:cNvSpPr>
            <a:spLocks noGrp="1" noChangeArrowheads="1"/>
          </p:cNvSpPr>
          <p:nvPr/>
        </p:nvSpPr>
        <p:spPr bwMode="auto">
          <a:xfrm>
            <a:off x="608013" y="479425"/>
            <a:ext cx="8940800" cy="56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90000"/>
              </a:lnSpc>
            </a:pPr>
            <a:r>
              <a:rPr lang="zh-CN" altLang="en-US" sz="2700" b="1">
                <a:solidFill>
                  <a:srgbClr val="0070C0"/>
                </a:solidFill>
                <a:latin typeface="Georgia" pitchFamily="18" charset="0"/>
              </a:rPr>
              <a:t>什么是项目？项目的特点是什么？</a:t>
            </a:r>
          </a:p>
        </p:txBody>
      </p:sp>
      <p:sp>
        <p:nvSpPr>
          <p:cNvPr id="2" name="五角星 1"/>
          <p:cNvSpPr/>
          <p:nvPr/>
        </p:nvSpPr>
        <p:spPr>
          <a:xfrm>
            <a:off x="6319838" y="644525"/>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3" name="五角星 2"/>
          <p:cNvSpPr/>
          <p:nvPr/>
        </p:nvSpPr>
        <p:spPr>
          <a:xfrm>
            <a:off x="6559550" y="644525"/>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0" name="五角星 9"/>
          <p:cNvSpPr/>
          <p:nvPr/>
        </p:nvSpPr>
        <p:spPr>
          <a:xfrm>
            <a:off x="6783388" y="631825"/>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1" name="五角星 10"/>
          <p:cNvSpPr/>
          <p:nvPr/>
        </p:nvSpPr>
        <p:spPr>
          <a:xfrm>
            <a:off x="7008813" y="630238"/>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2" name="五角星 11"/>
          <p:cNvSpPr/>
          <p:nvPr/>
        </p:nvSpPr>
        <p:spPr>
          <a:xfrm>
            <a:off x="7221538" y="63976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3" name="五角星 12"/>
          <p:cNvSpPr/>
          <p:nvPr/>
        </p:nvSpPr>
        <p:spPr>
          <a:xfrm>
            <a:off x="5856288" y="650875"/>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4" name="五角星 13"/>
          <p:cNvSpPr/>
          <p:nvPr/>
        </p:nvSpPr>
        <p:spPr>
          <a:xfrm>
            <a:off x="6081713" y="650875"/>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7" name="图片 14"/>
          <p:cNvPicPr>
            <a:picLocks noChangeAspect="1" noChangeArrowheads="1"/>
          </p:cNvPicPr>
          <p:nvPr/>
        </p:nvPicPr>
        <p:blipFill>
          <a:blip r:embed="rId3">
            <a:extLst>
              <a:ext uri="{28A0092B-C50C-407E-A947-70E740481C1C}">
                <a14:useLocalDpi xmlns:a14="http://schemas.microsoft.com/office/drawing/2010/main" val="0"/>
              </a:ext>
            </a:extLst>
          </a:blip>
          <a:srcRect r="7465"/>
          <a:stretch>
            <a:fillRect/>
          </a:stretch>
        </p:blipFill>
        <p:spPr bwMode="auto">
          <a:xfrm>
            <a:off x="6870700" y="2103438"/>
            <a:ext cx="2586038" cy="2305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18" name="Rectangle 2"/>
          <p:cNvSpPr>
            <a:spLocks noGrp="1" noChangeArrowheads="1"/>
          </p:cNvSpPr>
          <p:nvPr/>
        </p:nvSpPr>
        <p:spPr bwMode="auto">
          <a:xfrm>
            <a:off x="515938" y="474663"/>
            <a:ext cx="8940800"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90000"/>
              </a:lnSpc>
            </a:pPr>
            <a:r>
              <a:rPr lang="zh-CN" altLang="en-US" sz="2700" b="1">
                <a:solidFill>
                  <a:srgbClr val="0070C0"/>
                </a:solidFill>
                <a:latin typeface="Georgia" pitchFamily="18" charset="0"/>
              </a:rPr>
              <a:t>项目目标的特性</a:t>
            </a:r>
          </a:p>
        </p:txBody>
      </p:sp>
      <p:sp>
        <p:nvSpPr>
          <p:cNvPr id="15" name="矩形标注 14"/>
          <p:cNvSpPr/>
          <p:nvPr/>
        </p:nvSpPr>
        <p:spPr>
          <a:xfrm>
            <a:off x="631825" y="1435100"/>
            <a:ext cx="6837363" cy="1149350"/>
          </a:xfrm>
          <a:prstGeom prst="wedgeRectCallout">
            <a:avLst>
              <a:gd name="adj1" fmla="val -33660"/>
              <a:gd name="adj2" fmla="val -41838"/>
            </a:avLst>
          </a:prstGeom>
        </p:spPr>
        <p:style>
          <a:lnRef idx="2">
            <a:schemeClr val="accent2"/>
          </a:lnRef>
          <a:fillRef idx="1">
            <a:schemeClr val="lt1"/>
          </a:fillRef>
          <a:effectRef idx="0">
            <a:schemeClr val="accent2"/>
          </a:effectRef>
          <a:fontRef idx="minor">
            <a:schemeClr val="dk1"/>
          </a:fontRef>
        </p:style>
        <p:txBody>
          <a:bodyPr anchor="ctr"/>
          <a:lstStyle/>
          <a:p>
            <a:pPr marL="0" lvl="2">
              <a:lnSpc>
                <a:spcPct val="150000"/>
              </a:lnSpc>
            </a:pPr>
            <a:r>
              <a:rPr lang="zh-CN" altLang="en-US" sz="2000" b="1" i="1" u="sng" noProof="1">
                <a:solidFill>
                  <a:srgbClr val="C00000"/>
                </a:solidFill>
                <a:latin typeface="Times New Roman" panose="02020603050405020304" pitchFamily="18" charset="0"/>
                <a:sym typeface="+mn-ea"/>
              </a:rPr>
              <a:t>优</a:t>
            </a:r>
            <a:r>
              <a:rPr lang="zh-CN" altLang="en-US" sz="2400" b="1" i="1" u="sng" noProof="1">
                <a:solidFill>
                  <a:srgbClr val="0000FF"/>
                </a:solidFill>
                <a:latin typeface="Times New Roman" panose="02020603050405020304" pitchFamily="18" charset="0"/>
                <a:sym typeface="+mn-ea"/>
              </a:rPr>
              <a:t>先</a:t>
            </a:r>
            <a:r>
              <a:rPr lang="zh-CN" altLang="en-US" sz="2000" b="1" i="1" u="sng" noProof="1">
                <a:solidFill>
                  <a:srgbClr val="C00000"/>
                </a:solidFill>
                <a:latin typeface="Times New Roman" panose="02020603050405020304" pitchFamily="18" charset="0"/>
                <a:sym typeface="+mn-ea"/>
              </a:rPr>
              <a:t>性 </a:t>
            </a:r>
            <a:r>
              <a:rPr lang="zh-CN" altLang="en-US" b="1" i="1" u="sng" noProof="1">
                <a:solidFill>
                  <a:srgbClr val="C00000"/>
                </a:solidFill>
                <a:latin typeface="Times New Roman" panose="02020603050405020304" pitchFamily="18" charset="0"/>
                <a:sym typeface="+mn-ea"/>
              </a:rPr>
              <a:t> </a:t>
            </a:r>
            <a:r>
              <a:rPr lang="zh-CN" altLang="en-US" b="1" noProof="1">
                <a:solidFill>
                  <a:schemeClr val="tx2"/>
                </a:solidFill>
                <a:sym typeface="+mn-ea"/>
              </a:rPr>
              <a:t>不同目标在项目的不同阶段，根据不同需要，其重要性也不一样。</a:t>
            </a:r>
            <a:endParaRPr lang="zh-CN" altLang="en-US" noProof="1">
              <a:solidFill>
                <a:srgbClr val="000000"/>
              </a:solidFill>
              <a:latin typeface="Times New Roman" panose="02020603050405020304" pitchFamily="18" charset="0"/>
              <a:sym typeface="+mn-ea"/>
            </a:endParaRPr>
          </a:p>
        </p:txBody>
      </p:sp>
      <p:sp>
        <p:nvSpPr>
          <p:cNvPr id="16" name="流程图: 可选过程 15"/>
          <p:cNvSpPr/>
          <p:nvPr/>
        </p:nvSpPr>
        <p:spPr>
          <a:xfrm>
            <a:off x="631825" y="1162050"/>
            <a:ext cx="3600450" cy="360363"/>
          </a:xfrm>
          <a:prstGeom prst="flowChartAlternateProcess">
            <a:avLst/>
          </a:prstGeom>
          <a:solidFill>
            <a:srgbClr val="C00000"/>
          </a:solidFill>
          <a:ln>
            <a:noFill/>
          </a:ln>
        </p:spPr>
        <p:style>
          <a:lnRef idx="1">
            <a:schemeClr val="accent2"/>
          </a:lnRef>
          <a:fillRef idx="3">
            <a:schemeClr val="accent2"/>
          </a:fillRef>
          <a:effectRef idx="2">
            <a:schemeClr val="accent2"/>
          </a:effectRef>
          <a:fontRef idx="minor">
            <a:schemeClr val="lt1"/>
          </a:fontRef>
        </p:style>
        <p:txBody>
          <a:bodyPr anchor="ctr"/>
          <a:lstStyle/>
          <a:p>
            <a:pPr algn="ctr"/>
            <a:r>
              <a:rPr lang="zh-CN" altLang="en-US" sz="2000" b="1" i="1" noProof="1">
                <a:effectLst>
                  <a:outerShdw blurRad="38100" dist="38100" dir="2700000" algn="tl">
                    <a:srgbClr val="000000">
                      <a:alpha val="43137"/>
                    </a:srgbClr>
                  </a:outerShdw>
                </a:effectLst>
              </a:rPr>
              <a:t>优先性 </a:t>
            </a:r>
          </a:p>
        </p:txBody>
      </p:sp>
      <p:sp>
        <p:nvSpPr>
          <p:cNvPr id="6" name="矩形标注 5"/>
          <p:cNvSpPr/>
          <p:nvPr/>
        </p:nvSpPr>
        <p:spPr>
          <a:xfrm>
            <a:off x="631825" y="3013075"/>
            <a:ext cx="6904038" cy="1076325"/>
          </a:xfrm>
          <a:prstGeom prst="wedgeRectCallout">
            <a:avLst>
              <a:gd name="adj1" fmla="val -33019"/>
              <a:gd name="adj2" fmla="val -46018"/>
            </a:avLst>
          </a:prstGeom>
        </p:spPr>
        <p:style>
          <a:lnRef idx="2">
            <a:schemeClr val="accent2"/>
          </a:lnRef>
          <a:fillRef idx="1">
            <a:schemeClr val="lt1"/>
          </a:fillRef>
          <a:effectRef idx="0">
            <a:schemeClr val="accent2"/>
          </a:effectRef>
          <a:fontRef idx="minor">
            <a:schemeClr val="dk1"/>
          </a:fontRef>
        </p:style>
        <p:txBody>
          <a:bodyPr anchor="ctr"/>
          <a:lstStyle/>
          <a:p>
            <a:pPr marL="0" lvl="2">
              <a:lnSpc>
                <a:spcPct val="150000"/>
              </a:lnSpc>
            </a:pPr>
            <a:r>
              <a:rPr lang="zh-CN" altLang="en-US" sz="2400" b="1" i="1" u="sng" noProof="1">
                <a:solidFill>
                  <a:srgbClr val="0000FF"/>
                </a:solidFill>
                <a:latin typeface="Times New Roman" panose="02020603050405020304" pitchFamily="18" charset="0"/>
                <a:sym typeface="+mn-ea"/>
              </a:rPr>
              <a:t>层</a:t>
            </a:r>
            <a:r>
              <a:rPr lang="zh-CN" altLang="en-US" sz="2000" b="1" i="1" u="sng" noProof="1">
                <a:solidFill>
                  <a:srgbClr val="C00000"/>
                </a:solidFill>
                <a:latin typeface="Times New Roman" panose="02020603050405020304" pitchFamily="18" charset="0"/>
                <a:sym typeface="+mn-ea"/>
              </a:rPr>
              <a:t>次性</a:t>
            </a:r>
            <a:r>
              <a:rPr lang="zh-CN" altLang="en-US" b="1" i="1" u="sng" noProof="1">
                <a:solidFill>
                  <a:srgbClr val="C00000"/>
                </a:solidFill>
                <a:latin typeface="Times New Roman" panose="02020603050405020304" pitchFamily="18" charset="0"/>
                <a:sym typeface="+mn-ea"/>
              </a:rPr>
              <a:t>  </a:t>
            </a:r>
            <a:r>
              <a:rPr lang="zh-CN" altLang="en-US" b="1" noProof="1">
                <a:solidFill>
                  <a:schemeClr val="tx2"/>
                </a:solidFill>
                <a:sym typeface="+mn-ea"/>
              </a:rPr>
              <a:t>项目目标的描述需要有一个从</a:t>
            </a:r>
            <a:r>
              <a:rPr lang="zh-CN" altLang="en-US" b="1" noProof="1">
                <a:solidFill>
                  <a:srgbClr val="C00000"/>
                </a:solidFill>
                <a:sym typeface="+mn-ea"/>
              </a:rPr>
              <a:t>抽象</a:t>
            </a:r>
            <a:r>
              <a:rPr lang="zh-CN" altLang="en-US" b="1" noProof="1">
                <a:solidFill>
                  <a:schemeClr val="tx2"/>
                </a:solidFill>
                <a:sym typeface="+mn-ea"/>
              </a:rPr>
              <a:t>到具体的层次结构。</a:t>
            </a:r>
            <a:endParaRPr lang="en-US" altLang="zh-CN" b="1" noProof="1">
              <a:solidFill>
                <a:schemeClr val="tx2"/>
              </a:solidFill>
            </a:endParaRPr>
          </a:p>
          <a:p>
            <a:pPr>
              <a:lnSpc>
                <a:spcPct val="150000"/>
              </a:lnSpc>
            </a:pPr>
            <a:endParaRPr lang="zh-CN" altLang="en-US" noProof="1">
              <a:solidFill>
                <a:srgbClr val="000000"/>
              </a:solidFill>
              <a:latin typeface="Times New Roman" panose="02020603050405020304" pitchFamily="18" charset="0"/>
              <a:sym typeface="+mn-ea"/>
            </a:endParaRPr>
          </a:p>
        </p:txBody>
      </p:sp>
      <p:sp>
        <p:nvSpPr>
          <p:cNvPr id="8" name="流程图: 可选过程 7"/>
          <p:cNvSpPr/>
          <p:nvPr/>
        </p:nvSpPr>
        <p:spPr>
          <a:xfrm>
            <a:off x="631825" y="2668588"/>
            <a:ext cx="3600450" cy="360362"/>
          </a:xfrm>
          <a:prstGeom prst="flowChartAlternateProcess">
            <a:avLst/>
          </a:prstGeom>
          <a:solidFill>
            <a:srgbClr val="00B0F0"/>
          </a:solidFill>
          <a:ln>
            <a:solidFill>
              <a:srgbClr val="000000">
                <a:alpha val="0"/>
              </a:srgbClr>
            </a:solidFill>
          </a:ln>
        </p:spPr>
        <p:style>
          <a:lnRef idx="1">
            <a:schemeClr val="accent2"/>
          </a:lnRef>
          <a:fillRef idx="3">
            <a:schemeClr val="accent2"/>
          </a:fillRef>
          <a:effectRef idx="2">
            <a:schemeClr val="accent2"/>
          </a:effectRef>
          <a:fontRef idx="minor">
            <a:schemeClr val="lt1"/>
          </a:fontRef>
        </p:style>
        <p:txBody>
          <a:bodyPr anchor="ctr"/>
          <a:lstStyle/>
          <a:p>
            <a:pPr algn="ctr"/>
            <a:r>
              <a:rPr lang="zh-CN" altLang="en-US" sz="2000" b="1" i="1" noProof="1">
                <a:effectLst>
                  <a:outerShdw blurRad="38100" dist="38100" dir="2700000" algn="tl">
                    <a:srgbClr val="000000">
                      <a:alpha val="43137"/>
                    </a:srgbClr>
                  </a:outerShdw>
                </a:effectLst>
              </a:rPr>
              <a:t>层次性 </a:t>
            </a:r>
          </a:p>
        </p:txBody>
      </p:sp>
      <p:sp>
        <p:nvSpPr>
          <p:cNvPr id="9" name="矩形标注 8"/>
          <p:cNvSpPr/>
          <p:nvPr/>
        </p:nvSpPr>
        <p:spPr>
          <a:xfrm>
            <a:off x="631825" y="4479925"/>
            <a:ext cx="6899275" cy="1485900"/>
          </a:xfrm>
          <a:prstGeom prst="wedgeRectCallout">
            <a:avLst>
              <a:gd name="adj1" fmla="val -33019"/>
              <a:gd name="adj2" fmla="val -46018"/>
            </a:avLst>
          </a:prstGeom>
        </p:spPr>
        <p:style>
          <a:lnRef idx="2">
            <a:schemeClr val="accent2"/>
          </a:lnRef>
          <a:fillRef idx="1">
            <a:schemeClr val="lt1"/>
          </a:fillRef>
          <a:effectRef idx="0">
            <a:schemeClr val="accent2"/>
          </a:effectRef>
          <a:fontRef idx="minor">
            <a:schemeClr val="dk1"/>
          </a:fontRef>
        </p:style>
        <p:txBody>
          <a:bodyPr anchor="ctr"/>
          <a:lstStyle/>
          <a:p>
            <a:pPr marL="0" lvl="2">
              <a:lnSpc>
                <a:spcPct val="150000"/>
              </a:lnSpc>
            </a:pPr>
            <a:r>
              <a:rPr lang="zh-CN" altLang="en-US" sz="2400" b="1" i="1" u="sng" noProof="1">
                <a:solidFill>
                  <a:srgbClr val="0000FF"/>
                </a:solidFill>
                <a:latin typeface="Times New Roman" panose="02020603050405020304" pitchFamily="18" charset="0"/>
                <a:sym typeface="+mn-ea"/>
              </a:rPr>
              <a:t>多</a:t>
            </a:r>
            <a:r>
              <a:rPr lang="zh-CN" altLang="en-US" sz="2000" b="1" i="1" u="sng" noProof="1">
                <a:solidFill>
                  <a:srgbClr val="C00000"/>
                </a:solidFill>
                <a:latin typeface="Times New Roman" panose="02020603050405020304" pitchFamily="18" charset="0"/>
                <a:sym typeface="+mn-ea"/>
              </a:rPr>
              <a:t>目标性</a:t>
            </a:r>
            <a:r>
              <a:rPr lang="zh-CN" altLang="en-US" b="1" i="1" u="sng" noProof="1">
                <a:solidFill>
                  <a:srgbClr val="C00000"/>
                </a:solidFill>
                <a:latin typeface="Times New Roman" panose="02020603050405020304" pitchFamily="18" charset="0"/>
                <a:sym typeface="+mn-ea"/>
              </a:rPr>
              <a:t>  </a:t>
            </a:r>
            <a:r>
              <a:rPr lang="zh-CN" altLang="en-US" b="1" noProof="1">
                <a:solidFill>
                  <a:schemeClr val="tx2"/>
                </a:solidFill>
                <a:sym typeface="+mn-ea"/>
              </a:rPr>
              <a:t>通过一个项目的实施，实现一系列的目标，满足多方面的需求。项目目标基本表现为三方面，即</a:t>
            </a:r>
            <a:r>
              <a:rPr lang="zh-CN" altLang="en-US" b="1" i="1" u="sng" noProof="1">
                <a:solidFill>
                  <a:srgbClr val="C00000"/>
                </a:solidFill>
                <a:sym typeface="+mn-ea"/>
              </a:rPr>
              <a:t>时间、成本、技术性能</a:t>
            </a:r>
            <a:r>
              <a:rPr lang="zh-CN" altLang="en-US" b="1" noProof="1">
                <a:solidFill>
                  <a:schemeClr val="tx2"/>
                </a:solidFill>
                <a:sym typeface="+mn-ea"/>
              </a:rPr>
              <a:t>（或质量标准），三个目标之间往往存在冲突。</a:t>
            </a:r>
            <a:endParaRPr lang="zh-CN" altLang="en-US" b="1" noProof="1">
              <a:solidFill>
                <a:srgbClr val="000000"/>
              </a:solidFill>
              <a:latin typeface="Times New Roman" panose="02020603050405020304" pitchFamily="18" charset="0"/>
              <a:sym typeface="+mn-ea"/>
            </a:endParaRPr>
          </a:p>
        </p:txBody>
      </p:sp>
      <p:sp>
        <p:nvSpPr>
          <p:cNvPr id="10" name="流程图: 可选过程 9"/>
          <p:cNvSpPr/>
          <p:nvPr/>
        </p:nvSpPr>
        <p:spPr>
          <a:xfrm>
            <a:off x="631825" y="4170363"/>
            <a:ext cx="3600450" cy="360362"/>
          </a:xfrm>
          <a:prstGeom prst="flowChartAlternateProcess">
            <a:avLst/>
          </a:prstGeom>
          <a:solidFill>
            <a:schemeClr val="accent2">
              <a:lumMod val="75000"/>
            </a:schemeClr>
          </a:solidFill>
          <a:ln>
            <a:solidFill>
              <a:srgbClr val="000000">
                <a:alpha val="0"/>
              </a:srgbClr>
            </a:solidFill>
          </a:ln>
        </p:spPr>
        <p:style>
          <a:lnRef idx="1">
            <a:schemeClr val="accent2"/>
          </a:lnRef>
          <a:fillRef idx="3">
            <a:schemeClr val="accent2"/>
          </a:fillRef>
          <a:effectRef idx="2">
            <a:schemeClr val="accent2"/>
          </a:effectRef>
          <a:fontRef idx="minor">
            <a:schemeClr val="lt1"/>
          </a:fontRef>
        </p:style>
        <p:txBody>
          <a:bodyPr anchor="ctr"/>
          <a:lstStyle/>
          <a:p>
            <a:pPr algn="ctr"/>
            <a:r>
              <a:rPr lang="zh-CN" altLang="en-US" sz="2000" b="1" i="1" noProof="1">
                <a:effectLst>
                  <a:outerShdw blurRad="38100" dist="38100" dir="2700000" algn="tl">
                    <a:srgbClr val="000000">
                      <a:alpha val="43137"/>
                    </a:srgbClr>
                  </a:outerShdw>
                </a:effectLst>
              </a:rPr>
              <a:t>多目标性 </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5" name="图片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94238" y="1390650"/>
            <a:ext cx="3228975" cy="199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66" name="Rectangle 2"/>
          <p:cNvSpPr>
            <a:spLocks noGrp="1" noChangeArrowheads="1"/>
          </p:cNvSpPr>
          <p:nvPr>
            <p:ph type="title"/>
          </p:nvPr>
        </p:nvSpPr>
        <p:spPr>
          <a:xfrm>
            <a:off x="369888" y="449263"/>
            <a:ext cx="8940800" cy="563562"/>
          </a:xfrm>
        </p:spPr>
        <p:txBody>
          <a:bodyPr/>
          <a:lstStyle/>
          <a:p>
            <a:pPr eaLnBrk="1" hangingPunct="1"/>
            <a:r>
              <a:rPr smtClean="0"/>
              <a:t>项目的目标，目标（结果）导向，过程控制</a:t>
            </a:r>
          </a:p>
        </p:txBody>
      </p:sp>
      <p:graphicFrame>
        <p:nvGraphicFramePr>
          <p:cNvPr id="3" name="图示 2"/>
          <p:cNvGraphicFramePr/>
          <p:nvPr/>
        </p:nvGraphicFramePr>
        <p:xfrm>
          <a:off x="4893461" y="3429957"/>
          <a:ext cx="3091820" cy="226317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36868" name="图片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5638" y="1390650"/>
            <a:ext cx="4038600" cy="430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Rectangle 2"/>
          <p:cNvSpPr>
            <a:spLocks noGrp="1" noChangeArrowheads="1"/>
          </p:cNvSpPr>
          <p:nvPr>
            <p:ph type="title"/>
          </p:nvPr>
        </p:nvSpPr>
        <p:spPr>
          <a:xfrm>
            <a:off x="515938" y="514350"/>
            <a:ext cx="3173412" cy="563563"/>
          </a:xfrm>
        </p:spPr>
        <p:txBody>
          <a:bodyPr/>
          <a:lstStyle/>
          <a:p>
            <a:pPr eaLnBrk="1" hangingPunct="1"/>
            <a:r>
              <a:rPr smtClean="0"/>
              <a:t>项目管理的重要性</a:t>
            </a:r>
          </a:p>
        </p:txBody>
      </p:sp>
      <p:sp>
        <p:nvSpPr>
          <p:cNvPr id="36866" name="Rectangle 3"/>
          <p:cNvSpPr>
            <a:spLocks noGrp="1"/>
          </p:cNvSpPr>
          <p:nvPr>
            <p:ph idx="1"/>
          </p:nvPr>
        </p:nvSpPr>
        <p:spPr>
          <a:xfrm>
            <a:off x="515938" y="1011238"/>
            <a:ext cx="7743825" cy="1976437"/>
          </a:xfrm>
        </p:spPr>
        <p:txBody>
          <a:bodyPr/>
          <a:lstStyle/>
          <a:p>
            <a:pPr eaLnBrk="1" hangingPunct="1">
              <a:buClr>
                <a:srgbClr val="C00000"/>
              </a:buClr>
              <a:buFont typeface="Wingdings" panose="05000000000000000000" pitchFamily="2" charset="2"/>
              <a:buChar char="v"/>
            </a:pPr>
            <a:r>
              <a:rPr lang="zh-CN" altLang="en-US" b="1" noProof="1">
                <a:solidFill>
                  <a:srgbClr val="C00000"/>
                </a:solidFill>
              </a:rPr>
              <a:t>项目管理的定义</a:t>
            </a:r>
          </a:p>
          <a:p>
            <a:pPr lvl="1" eaLnBrk="1" hangingPunct="1">
              <a:lnSpc>
                <a:spcPct val="150000"/>
              </a:lnSpc>
              <a:buClr>
                <a:srgbClr val="C00000"/>
              </a:buClr>
              <a:buFont typeface="Wingdings" panose="05000000000000000000" charset="0"/>
              <a:buChar char="X"/>
            </a:pPr>
            <a:r>
              <a:rPr lang="zh-CN" altLang="en-US" noProof="1">
                <a:sym typeface="+mn-ea"/>
              </a:rPr>
              <a:t>项目管理就是</a:t>
            </a:r>
            <a:r>
              <a:rPr lang="zh-CN" altLang="en-US" u="sng" noProof="1">
                <a:solidFill>
                  <a:srgbClr val="C00000"/>
                </a:solidFill>
                <a:sym typeface="+mn-ea"/>
              </a:rPr>
              <a:t>将知识、技能、工具与技术应用于</a:t>
            </a:r>
            <a:r>
              <a:rPr lang="zh-CN" altLang="en-US" noProof="1">
                <a:sym typeface="+mn-ea"/>
              </a:rPr>
              <a:t>项目活动，以满足项目的要求。项目管理通过</a:t>
            </a:r>
            <a:r>
              <a:rPr lang="zh-CN" altLang="en-US" u="sng" noProof="1">
                <a:solidFill>
                  <a:srgbClr val="C00000"/>
                </a:solidFill>
                <a:sym typeface="+mn-ea"/>
              </a:rPr>
              <a:t>合理运用与整合特定</a:t>
            </a:r>
            <a:r>
              <a:rPr lang="zh-CN" altLang="en-US" noProof="1">
                <a:sym typeface="+mn-ea"/>
              </a:rPr>
              <a:t>项目所需的项目管理过程得以实现。项目管理使组织能够</a:t>
            </a:r>
            <a:r>
              <a:rPr lang="zh-CN" altLang="en-US" u="sng" noProof="1">
                <a:solidFill>
                  <a:srgbClr val="C00000"/>
                </a:solidFill>
                <a:sym typeface="+mn-ea"/>
              </a:rPr>
              <a:t>有效且高效</a:t>
            </a:r>
            <a:r>
              <a:rPr lang="zh-CN" altLang="en-US" noProof="1">
                <a:sym typeface="+mn-ea"/>
              </a:rPr>
              <a:t>地开展项目。</a:t>
            </a:r>
            <a:endParaRPr lang="zh-CN" altLang="en-US" noProof="1"/>
          </a:p>
          <a:p>
            <a:pPr lvl="1" eaLnBrk="1" hangingPunct="1">
              <a:lnSpc>
                <a:spcPct val="150000"/>
              </a:lnSpc>
              <a:buClr>
                <a:srgbClr val="C00000"/>
              </a:buClr>
              <a:buFont typeface="Wingdings" panose="05000000000000000000" charset="0"/>
              <a:buChar char="X"/>
            </a:pPr>
            <a:endParaRPr lang="en-US" altLang="zh-CN" noProof="1"/>
          </a:p>
          <a:p>
            <a:pPr marL="457200" lvl="1" indent="0" eaLnBrk="1" hangingPunct="1">
              <a:lnSpc>
                <a:spcPct val="150000"/>
              </a:lnSpc>
              <a:buFont typeface="Arial" pitchFamily="34" charset="0"/>
              <a:buNone/>
            </a:pPr>
            <a:endParaRPr lang="zh-CN" altLang="en-US" sz="2800" b="1" noProof="1">
              <a:solidFill>
                <a:srgbClr val="C00000"/>
              </a:solidFill>
            </a:endParaRPr>
          </a:p>
          <a:p>
            <a:pPr marL="457200" lvl="1" indent="0" eaLnBrk="1" hangingPunct="1">
              <a:lnSpc>
                <a:spcPct val="150000"/>
              </a:lnSpc>
              <a:buFont typeface="Arial" pitchFamily="34" charset="0"/>
              <a:buNone/>
            </a:pPr>
            <a:endParaRPr lang="zh-CN" altLang="en-US" sz="2100" b="1" noProof="1">
              <a:solidFill>
                <a:srgbClr val="FF0000"/>
              </a:solidFill>
            </a:endParaRPr>
          </a:p>
        </p:txBody>
      </p:sp>
      <p:sp>
        <p:nvSpPr>
          <p:cNvPr id="38915" name="文本框 2"/>
          <p:cNvSpPr txBox="1">
            <a:spLocks noChangeArrowheads="1"/>
          </p:cNvSpPr>
          <p:nvPr/>
        </p:nvSpPr>
        <p:spPr bwMode="auto">
          <a:xfrm>
            <a:off x="893763" y="5915025"/>
            <a:ext cx="802952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en-US" sz="2000" b="1" i="1" u="sng" smtClean="0">
                <a:solidFill>
                  <a:srgbClr val="0000FF"/>
                </a:solidFill>
              </a:rPr>
              <a:t>薛大龙博士观点</a:t>
            </a:r>
            <a:r>
              <a:rPr lang="zh-CN" altLang="en-US" sz="2000" b="1">
                <a:solidFill>
                  <a:srgbClr val="C00000"/>
                </a:solidFill>
              </a:rPr>
              <a:t>：项目管理就是在复杂多变环境中如何做好一件事。</a:t>
            </a:r>
          </a:p>
        </p:txBody>
      </p:sp>
      <p:sp>
        <p:nvSpPr>
          <p:cNvPr id="3" name="文本框 2"/>
          <p:cNvSpPr txBox="1"/>
          <p:nvPr/>
        </p:nvSpPr>
        <p:spPr>
          <a:xfrm>
            <a:off x="644525" y="3563938"/>
            <a:ext cx="3044825" cy="2216150"/>
          </a:xfrm>
          <a:prstGeom prst="rect">
            <a:avLst/>
          </a:prstGeom>
          <a:noFill/>
        </p:spPr>
        <p:txBody>
          <a:bodyPr>
            <a:spAutoFit/>
          </a:bodyPr>
          <a:lstStyle/>
          <a:p>
            <a:pPr marL="0" lvl="1">
              <a:lnSpc>
                <a:spcPct val="150000"/>
              </a:lnSpc>
            </a:pPr>
            <a:r>
              <a:rPr lang="zh-CN" altLang="en-US" sz="2000" b="1" noProof="1">
                <a:solidFill>
                  <a:srgbClr val="C00000"/>
                </a:solidFill>
                <a:cs typeface="+mn-ea"/>
                <a:sym typeface="+mn-ea"/>
              </a:rPr>
              <a:t>制约项目成功的四个因素：</a:t>
            </a:r>
            <a:endParaRPr lang="zh-CN" altLang="en-US" sz="2000" b="1" noProof="1">
              <a:solidFill>
                <a:srgbClr val="C00000"/>
              </a:solidFill>
              <a:sym typeface="+mn-ea"/>
            </a:endParaRPr>
          </a:p>
          <a:p>
            <a:pPr marL="742950" lvl="1" indent="-285750">
              <a:lnSpc>
                <a:spcPct val="150000"/>
              </a:lnSpc>
              <a:buClr>
                <a:srgbClr val="C00000"/>
              </a:buClr>
              <a:buFont typeface="Wingdings" panose="05000000000000000000" charset="0"/>
              <a:buChar char="p"/>
            </a:pPr>
            <a:r>
              <a:rPr lang="zh-CN" altLang="en-US" b="1" noProof="1">
                <a:solidFill>
                  <a:srgbClr val="FF0000"/>
                </a:solidFill>
                <a:cs typeface="+mn-ea"/>
                <a:sym typeface="+mn-ea"/>
              </a:rPr>
              <a:t>范围</a:t>
            </a:r>
            <a:endParaRPr lang="zh-CN" altLang="en-US" b="1" noProof="1">
              <a:solidFill>
                <a:srgbClr val="FF0000"/>
              </a:solidFill>
              <a:sym typeface="+mn-ea"/>
            </a:endParaRPr>
          </a:p>
          <a:p>
            <a:pPr marL="742950" lvl="1" indent="-285750">
              <a:lnSpc>
                <a:spcPct val="150000"/>
              </a:lnSpc>
              <a:buClr>
                <a:srgbClr val="C00000"/>
              </a:buClr>
              <a:buFont typeface="Wingdings" panose="05000000000000000000" charset="0"/>
              <a:buChar char="p"/>
            </a:pPr>
            <a:r>
              <a:rPr lang="zh-CN" altLang="en-US" b="1" noProof="1">
                <a:solidFill>
                  <a:srgbClr val="FF0000"/>
                </a:solidFill>
                <a:cs typeface="+mn-ea"/>
                <a:sym typeface="+mn-ea"/>
              </a:rPr>
              <a:t>进度</a:t>
            </a:r>
            <a:endParaRPr lang="zh-CN" altLang="en-US" b="1" noProof="1">
              <a:solidFill>
                <a:srgbClr val="FF0000"/>
              </a:solidFill>
              <a:sym typeface="+mn-ea"/>
            </a:endParaRPr>
          </a:p>
          <a:p>
            <a:pPr marL="742950" lvl="1" indent="-285750">
              <a:lnSpc>
                <a:spcPct val="150000"/>
              </a:lnSpc>
              <a:buClr>
                <a:srgbClr val="C00000"/>
              </a:buClr>
              <a:buFont typeface="Wingdings" panose="05000000000000000000" charset="0"/>
              <a:buChar char="p"/>
            </a:pPr>
            <a:r>
              <a:rPr lang="zh-CN" altLang="en-US" b="1" noProof="1">
                <a:solidFill>
                  <a:srgbClr val="FF0000"/>
                </a:solidFill>
                <a:cs typeface="+mn-ea"/>
                <a:sym typeface="+mn-ea"/>
              </a:rPr>
              <a:t>成本</a:t>
            </a:r>
            <a:endParaRPr lang="zh-CN" altLang="en-US" b="1" noProof="1">
              <a:solidFill>
                <a:srgbClr val="FF0000"/>
              </a:solidFill>
              <a:sym typeface="+mn-ea"/>
            </a:endParaRPr>
          </a:p>
          <a:p>
            <a:pPr marL="742950" lvl="1" indent="-285750">
              <a:lnSpc>
                <a:spcPct val="150000"/>
              </a:lnSpc>
              <a:buClr>
                <a:srgbClr val="C00000"/>
              </a:buClr>
              <a:buFont typeface="Wingdings" panose="05000000000000000000" charset="0"/>
              <a:buChar char="p"/>
            </a:pPr>
            <a:r>
              <a:rPr lang="zh-CN" altLang="en-US" b="1" noProof="1">
                <a:solidFill>
                  <a:srgbClr val="FF0000"/>
                </a:solidFill>
                <a:cs typeface="+mn-ea"/>
                <a:sym typeface="+mn-ea"/>
              </a:rPr>
              <a:t>质量</a:t>
            </a:r>
            <a:endParaRPr lang="zh-CN" altLang="en-US" noProof="1"/>
          </a:p>
        </p:txBody>
      </p:sp>
      <p:grpSp>
        <p:nvGrpSpPr>
          <p:cNvPr id="38924" name="Group 4"/>
          <p:cNvGrpSpPr>
            <a:grpSpLocks noChangeAspect="1"/>
          </p:cNvGrpSpPr>
          <p:nvPr/>
        </p:nvGrpSpPr>
        <p:grpSpPr bwMode="auto">
          <a:xfrm>
            <a:off x="3697288" y="3627438"/>
            <a:ext cx="2190750" cy="2306637"/>
            <a:chOff x="2012" y="328"/>
            <a:chExt cx="3656" cy="3685"/>
          </a:xfrm>
        </p:grpSpPr>
        <p:sp>
          <p:nvSpPr>
            <p:cNvPr id="38925" name="Freeform 5"/>
            <p:cNvSpPr>
              <a:spLocks noChangeArrowheads="1"/>
            </p:cNvSpPr>
            <p:nvPr/>
          </p:nvSpPr>
          <p:spPr bwMode="auto">
            <a:xfrm>
              <a:off x="3903" y="1328"/>
              <a:ext cx="1746" cy="1747"/>
            </a:xfrm>
            <a:custGeom>
              <a:avLst/>
              <a:gdLst>
                <a:gd name="T0" fmla="*/ 264 w 738"/>
                <a:gd name="T1" fmla="*/ 632 h 738"/>
                <a:gd name="T2" fmla="*/ 258 w 738"/>
                <a:gd name="T3" fmla="*/ 482 h 738"/>
                <a:gd name="T4" fmla="*/ 180 w 738"/>
                <a:gd name="T5" fmla="*/ 450 h 738"/>
                <a:gd name="T6" fmla="*/ 108 w 738"/>
                <a:gd name="T7" fmla="*/ 476 h 738"/>
                <a:gd name="T8" fmla="*/ 0 w 738"/>
                <a:gd name="T9" fmla="*/ 368 h 738"/>
                <a:gd name="T10" fmla="*/ 107 w 738"/>
                <a:gd name="T11" fmla="*/ 260 h 738"/>
                <a:gd name="T12" fmla="*/ 180 w 738"/>
                <a:gd name="T13" fmla="*/ 287 h 738"/>
                <a:gd name="T14" fmla="*/ 258 w 738"/>
                <a:gd name="T15" fmla="*/ 255 h 738"/>
                <a:gd name="T16" fmla="*/ 263 w 738"/>
                <a:gd name="T17" fmla="*/ 104 h 738"/>
                <a:gd name="T18" fmla="*/ 368 w 738"/>
                <a:gd name="T19" fmla="*/ 0 h 738"/>
                <a:gd name="T20" fmla="*/ 505 w 738"/>
                <a:gd name="T21" fmla="*/ 138 h 738"/>
                <a:gd name="T22" fmla="*/ 509 w 738"/>
                <a:gd name="T23" fmla="*/ 131 h 738"/>
                <a:gd name="T24" fmla="*/ 519 w 738"/>
                <a:gd name="T25" fmla="*/ 118 h 738"/>
                <a:gd name="T26" fmla="*/ 571 w 738"/>
                <a:gd name="T27" fmla="*/ 97 h 738"/>
                <a:gd name="T28" fmla="*/ 622 w 738"/>
                <a:gd name="T29" fmla="*/ 118 h 738"/>
                <a:gd name="T30" fmla="*/ 643 w 738"/>
                <a:gd name="T31" fmla="*/ 169 h 738"/>
                <a:gd name="T32" fmla="*/ 622 w 738"/>
                <a:gd name="T33" fmla="*/ 221 h 738"/>
                <a:gd name="T34" fmla="*/ 609 w 738"/>
                <a:gd name="T35" fmla="*/ 231 h 738"/>
                <a:gd name="T36" fmla="*/ 602 w 738"/>
                <a:gd name="T37" fmla="*/ 235 h 738"/>
                <a:gd name="T38" fmla="*/ 738 w 738"/>
                <a:gd name="T39" fmla="*/ 370 h 738"/>
                <a:gd name="T40" fmla="*/ 602 w 738"/>
                <a:gd name="T41" fmla="*/ 507 h 738"/>
                <a:gd name="T42" fmla="*/ 609 w 738"/>
                <a:gd name="T43" fmla="*/ 510 h 738"/>
                <a:gd name="T44" fmla="*/ 629 w 738"/>
                <a:gd name="T45" fmla="*/ 524 h 738"/>
                <a:gd name="T46" fmla="*/ 629 w 738"/>
                <a:gd name="T47" fmla="*/ 627 h 738"/>
                <a:gd name="T48" fmla="*/ 578 w 738"/>
                <a:gd name="T49" fmla="*/ 648 h 738"/>
                <a:gd name="T50" fmla="*/ 527 w 738"/>
                <a:gd name="T51" fmla="*/ 627 h 738"/>
                <a:gd name="T52" fmla="*/ 513 w 738"/>
                <a:gd name="T53" fmla="*/ 607 h 738"/>
                <a:gd name="T54" fmla="*/ 509 w 738"/>
                <a:gd name="T55" fmla="*/ 599 h 738"/>
                <a:gd name="T56" fmla="*/ 370 w 738"/>
                <a:gd name="T57" fmla="*/ 738 h 738"/>
                <a:gd name="T58" fmla="*/ 264 w 738"/>
                <a:gd name="T59" fmla="*/ 632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38" h="738">
                  <a:moveTo>
                    <a:pt x="264" y="632"/>
                  </a:moveTo>
                  <a:cubicBezTo>
                    <a:pt x="301" y="588"/>
                    <a:pt x="299" y="523"/>
                    <a:pt x="258" y="482"/>
                  </a:cubicBezTo>
                  <a:cubicBezTo>
                    <a:pt x="237" y="461"/>
                    <a:pt x="209" y="450"/>
                    <a:pt x="180" y="450"/>
                  </a:cubicBezTo>
                  <a:cubicBezTo>
                    <a:pt x="153" y="450"/>
                    <a:pt x="128" y="459"/>
                    <a:pt x="108" y="476"/>
                  </a:cubicBezTo>
                  <a:cubicBezTo>
                    <a:pt x="0" y="368"/>
                    <a:pt x="0" y="368"/>
                    <a:pt x="0" y="368"/>
                  </a:cubicBezTo>
                  <a:cubicBezTo>
                    <a:pt x="107" y="260"/>
                    <a:pt x="107" y="260"/>
                    <a:pt x="107" y="260"/>
                  </a:cubicBezTo>
                  <a:cubicBezTo>
                    <a:pt x="127" y="278"/>
                    <a:pt x="153" y="287"/>
                    <a:pt x="180" y="287"/>
                  </a:cubicBezTo>
                  <a:cubicBezTo>
                    <a:pt x="209" y="287"/>
                    <a:pt x="237" y="276"/>
                    <a:pt x="258" y="255"/>
                  </a:cubicBezTo>
                  <a:cubicBezTo>
                    <a:pt x="299" y="214"/>
                    <a:pt x="301" y="148"/>
                    <a:pt x="263" y="104"/>
                  </a:cubicBezTo>
                  <a:cubicBezTo>
                    <a:pt x="368" y="0"/>
                    <a:pt x="368" y="0"/>
                    <a:pt x="368" y="0"/>
                  </a:cubicBezTo>
                  <a:cubicBezTo>
                    <a:pt x="505" y="138"/>
                    <a:pt x="505" y="138"/>
                    <a:pt x="505" y="138"/>
                  </a:cubicBezTo>
                  <a:cubicBezTo>
                    <a:pt x="509" y="131"/>
                    <a:pt x="509" y="131"/>
                    <a:pt x="509" y="131"/>
                  </a:cubicBezTo>
                  <a:cubicBezTo>
                    <a:pt x="512" y="126"/>
                    <a:pt x="516" y="122"/>
                    <a:pt x="519" y="118"/>
                  </a:cubicBezTo>
                  <a:cubicBezTo>
                    <a:pt x="533" y="105"/>
                    <a:pt x="551" y="97"/>
                    <a:pt x="571" y="97"/>
                  </a:cubicBezTo>
                  <a:cubicBezTo>
                    <a:pt x="590" y="97"/>
                    <a:pt x="608" y="105"/>
                    <a:pt x="622" y="118"/>
                  </a:cubicBezTo>
                  <a:cubicBezTo>
                    <a:pt x="635" y="132"/>
                    <a:pt x="643" y="150"/>
                    <a:pt x="643" y="169"/>
                  </a:cubicBezTo>
                  <a:cubicBezTo>
                    <a:pt x="643" y="189"/>
                    <a:pt x="635" y="207"/>
                    <a:pt x="622" y="221"/>
                  </a:cubicBezTo>
                  <a:cubicBezTo>
                    <a:pt x="618" y="224"/>
                    <a:pt x="614" y="228"/>
                    <a:pt x="609" y="231"/>
                  </a:cubicBezTo>
                  <a:cubicBezTo>
                    <a:pt x="602" y="235"/>
                    <a:pt x="602" y="235"/>
                    <a:pt x="602" y="235"/>
                  </a:cubicBezTo>
                  <a:cubicBezTo>
                    <a:pt x="738" y="370"/>
                    <a:pt x="738" y="370"/>
                    <a:pt x="738" y="370"/>
                  </a:cubicBezTo>
                  <a:cubicBezTo>
                    <a:pt x="602" y="507"/>
                    <a:pt x="602" y="507"/>
                    <a:pt x="602" y="507"/>
                  </a:cubicBezTo>
                  <a:cubicBezTo>
                    <a:pt x="609" y="510"/>
                    <a:pt x="609" y="510"/>
                    <a:pt x="609" y="510"/>
                  </a:cubicBezTo>
                  <a:cubicBezTo>
                    <a:pt x="617" y="514"/>
                    <a:pt x="623" y="519"/>
                    <a:pt x="629" y="524"/>
                  </a:cubicBezTo>
                  <a:cubicBezTo>
                    <a:pt x="657" y="553"/>
                    <a:pt x="657" y="598"/>
                    <a:pt x="629" y="627"/>
                  </a:cubicBezTo>
                  <a:cubicBezTo>
                    <a:pt x="615" y="640"/>
                    <a:pt x="597" y="648"/>
                    <a:pt x="578" y="648"/>
                  </a:cubicBezTo>
                  <a:cubicBezTo>
                    <a:pt x="558" y="648"/>
                    <a:pt x="540" y="640"/>
                    <a:pt x="527" y="627"/>
                  </a:cubicBezTo>
                  <a:cubicBezTo>
                    <a:pt x="521" y="621"/>
                    <a:pt x="516" y="614"/>
                    <a:pt x="513" y="607"/>
                  </a:cubicBezTo>
                  <a:cubicBezTo>
                    <a:pt x="509" y="599"/>
                    <a:pt x="509" y="599"/>
                    <a:pt x="509" y="599"/>
                  </a:cubicBezTo>
                  <a:cubicBezTo>
                    <a:pt x="370" y="738"/>
                    <a:pt x="370" y="738"/>
                    <a:pt x="370" y="738"/>
                  </a:cubicBezTo>
                  <a:lnTo>
                    <a:pt x="264" y="632"/>
                  </a:lnTo>
                  <a:close/>
                </a:path>
              </a:pathLst>
            </a:custGeom>
            <a:solidFill>
              <a:srgbClr val="FFC000"/>
            </a:solidFill>
            <a:ln w="9525">
              <a:solidFill>
                <a:srgbClr val="2BBB99"/>
              </a:solidFill>
              <a:round/>
              <a:headEnd/>
              <a:tailEnd/>
            </a:ln>
          </p:spPr>
          <p:txBody>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endParaRPr lang="zh-CN" altLang="en-US"/>
            </a:p>
          </p:txBody>
        </p:sp>
        <p:sp>
          <p:nvSpPr>
            <p:cNvPr id="38926" name="Freeform 7"/>
            <p:cNvSpPr>
              <a:spLocks noChangeArrowheads="1"/>
            </p:cNvSpPr>
            <p:nvPr/>
          </p:nvSpPr>
          <p:spPr bwMode="auto">
            <a:xfrm>
              <a:off x="2954" y="2259"/>
              <a:ext cx="1753" cy="1754"/>
            </a:xfrm>
            <a:custGeom>
              <a:avLst/>
              <a:gdLst>
                <a:gd name="T0" fmla="*/ 233 w 741"/>
                <a:gd name="T1" fmla="*/ 604 h 741"/>
                <a:gd name="T2" fmla="*/ 230 w 741"/>
                <a:gd name="T3" fmla="*/ 611 h 741"/>
                <a:gd name="T4" fmla="*/ 216 w 741"/>
                <a:gd name="T5" fmla="*/ 629 h 741"/>
                <a:gd name="T6" fmla="*/ 165 w 741"/>
                <a:gd name="T7" fmla="*/ 651 h 741"/>
                <a:gd name="T8" fmla="*/ 114 w 741"/>
                <a:gd name="T9" fmla="*/ 629 h 741"/>
                <a:gd name="T10" fmla="*/ 93 w 741"/>
                <a:gd name="T11" fmla="*/ 578 h 741"/>
                <a:gd name="T12" fmla="*/ 114 w 741"/>
                <a:gd name="T13" fmla="*/ 527 h 741"/>
                <a:gd name="T14" fmla="*/ 132 w 741"/>
                <a:gd name="T15" fmla="*/ 514 h 741"/>
                <a:gd name="T16" fmla="*/ 140 w 741"/>
                <a:gd name="T17" fmla="*/ 510 h 741"/>
                <a:gd name="T18" fmla="*/ 0 w 741"/>
                <a:gd name="T19" fmla="*/ 371 h 741"/>
                <a:gd name="T20" fmla="*/ 108 w 741"/>
                <a:gd name="T21" fmla="*/ 262 h 741"/>
                <a:gd name="T22" fmla="*/ 181 w 741"/>
                <a:gd name="T23" fmla="*/ 290 h 741"/>
                <a:gd name="T24" fmla="*/ 259 w 741"/>
                <a:gd name="T25" fmla="*/ 257 h 741"/>
                <a:gd name="T26" fmla="*/ 265 w 741"/>
                <a:gd name="T27" fmla="*/ 106 h 741"/>
                <a:gd name="T28" fmla="*/ 371 w 741"/>
                <a:gd name="T29" fmla="*/ 0 h 741"/>
                <a:gd name="T30" fmla="*/ 509 w 741"/>
                <a:gd name="T31" fmla="*/ 139 h 741"/>
                <a:gd name="T32" fmla="*/ 513 w 741"/>
                <a:gd name="T33" fmla="*/ 132 h 741"/>
                <a:gd name="T34" fmla="*/ 525 w 741"/>
                <a:gd name="T35" fmla="*/ 116 h 741"/>
                <a:gd name="T36" fmla="*/ 576 w 741"/>
                <a:gd name="T37" fmla="*/ 95 h 741"/>
                <a:gd name="T38" fmla="*/ 627 w 741"/>
                <a:gd name="T39" fmla="*/ 116 h 741"/>
                <a:gd name="T40" fmla="*/ 648 w 741"/>
                <a:gd name="T41" fmla="*/ 167 h 741"/>
                <a:gd name="T42" fmla="*/ 627 w 741"/>
                <a:gd name="T43" fmla="*/ 218 h 741"/>
                <a:gd name="T44" fmla="*/ 612 w 741"/>
                <a:gd name="T45" fmla="*/ 230 h 741"/>
                <a:gd name="T46" fmla="*/ 605 w 741"/>
                <a:gd name="T47" fmla="*/ 234 h 741"/>
                <a:gd name="T48" fmla="*/ 741 w 741"/>
                <a:gd name="T49" fmla="*/ 371 h 741"/>
                <a:gd name="T50" fmla="*/ 634 w 741"/>
                <a:gd name="T51" fmla="*/ 478 h 741"/>
                <a:gd name="T52" fmla="*/ 560 w 741"/>
                <a:gd name="T53" fmla="*/ 450 h 741"/>
                <a:gd name="T54" fmla="*/ 482 w 741"/>
                <a:gd name="T55" fmla="*/ 482 h 741"/>
                <a:gd name="T56" fmla="*/ 450 w 741"/>
                <a:gd name="T57" fmla="*/ 560 h 741"/>
                <a:gd name="T58" fmla="*/ 478 w 741"/>
                <a:gd name="T59" fmla="*/ 633 h 741"/>
                <a:gd name="T60" fmla="*/ 371 w 741"/>
                <a:gd name="T61" fmla="*/ 741 h 741"/>
                <a:gd name="T62" fmla="*/ 233 w 741"/>
                <a:gd name="T63" fmla="*/ 604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41" h="741">
                  <a:moveTo>
                    <a:pt x="233" y="604"/>
                  </a:moveTo>
                  <a:cubicBezTo>
                    <a:pt x="230" y="611"/>
                    <a:pt x="230" y="611"/>
                    <a:pt x="230" y="611"/>
                  </a:cubicBezTo>
                  <a:cubicBezTo>
                    <a:pt x="226" y="618"/>
                    <a:pt x="222" y="624"/>
                    <a:pt x="216" y="629"/>
                  </a:cubicBezTo>
                  <a:cubicBezTo>
                    <a:pt x="203" y="643"/>
                    <a:pt x="184" y="651"/>
                    <a:pt x="165" y="651"/>
                  </a:cubicBezTo>
                  <a:cubicBezTo>
                    <a:pt x="146" y="651"/>
                    <a:pt x="128" y="643"/>
                    <a:pt x="114" y="629"/>
                  </a:cubicBezTo>
                  <a:cubicBezTo>
                    <a:pt x="100" y="616"/>
                    <a:pt x="93" y="598"/>
                    <a:pt x="93" y="578"/>
                  </a:cubicBezTo>
                  <a:cubicBezTo>
                    <a:pt x="93" y="559"/>
                    <a:pt x="100" y="541"/>
                    <a:pt x="114" y="527"/>
                  </a:cubicBezTo>
                  <a:cubicBezTo>
                    <a:pt x="119" y="522"/>
                    <a:pt x="126" y="517"/>
                    <a:pt x="132" y="514"/>
                  </a:cubicBezTo>
                  <a:cubicBezTo>
                    <a:pt x="140" y="510"/>
                    <a:pt x="140" y="510"/>
                    <a:pt x="140" y="510"/>
                  </a:cubicBezTo>
                  <a:cubicBezTo>
                    <a:pt x="0" y="371"/>
                    <a:pt x="0" y="371"/>
                    <a:pt x="0" y="371"/>
                  </a:cubicBezTo>
                  <a:cubicBezTo>
                    <a:pt x="108" y="262"/>
                    <a:pt x="108" y="262"/>
                    <a:pt x="108" y="262"/>
                  </a:cubicBezTo>
                  <a:cubicBezTo>
                    <a:pt x="129" y="280"/>
                    <a:pt x="154" y="290"/>
                    <a:pt x="181" y="290"/>
                  </a:cubicBezTo>
                  <a:cubicBezTo>
                    <a:pt x="211" y="290"/>
                    <a:pt x="238" y="278"/>
                    <a:pt x="259" y="257"/>
                  </a:cubicBezTo>
                  <a:cubicBezTo>
                    <a:pt x="300" y="216"/>
                    <a:pt x="302" y="150"/>
                    <a:pt x="265" y="106"/>
                  </a:cubicBezTo>
                  <a:cubicBezTo>
                    <a:pt x="371" y="0"/>
                    <a:pt x="371" y="0"/>
                    <a:pt x="371" y="0"/>
                  </a:cubicBezTo>
                  <a:cubicBezTo>
                    <a:pt x="509" y="139"/>
                    <a:pt x="509" y="139"/>
                    <a:pt x="509" y="139"/>
                  </a:cubicBezTo>
                  <a:cubicBezTo>
                    <a:pt x="513" y="132"/>
                    <a:pt x="513" y="132"/>
                    <a:pt x="513" y="132"/>
                  </a:cubicBezTo>
                  <a:cubicBezTo>
                    <a:pt x="516" y="126"/>
                    <a:pt x="520" y="121"/>
                    <a:pt x="525" y="116"/>
                  </a:cubicBezTo>
                  <a:cubicBezTo>
                    <a:pt x="539" y="103"/>
                    <a:pt x="557" y="95"/>
                    <a:pt x="576" y="95"/>
                  </a:cubicBezTo>
                  <a:cubicBezTo>
                    <a:pt x="595" y="95"/>
                    <a:pt x="614" y="103"/>
                    <a:pt x="627" y="116"/>
                  </a:cubicBezTo>
                  <a:cubicBezTo>
                    <a:pt x="641" y="130"/>
                    <a:pt x="648" y="148"/>
                    <a:pt x="648" y="167"/>
                  </a:cubicBezTo>
                  <a:cubicBezTo>
                    <a:pt x="648" y="187"/>
                    <a:pt x="641" y="205"/>
                    <a:pt x="627" y="218"/>
                  </a:cubicBezTo>
                  <a:cubicBezTo>
                    <a:pt x="623" y="223"/>
                    <a:pt x="617" y="227"/>
                    <a:pt x="612" y="230"/>
                  </a:cubicBezTo>
                  <a:cubicBezTo>
                    <a:pt x="605" y="234"/>
                    <a:pt x="605" y="234"/>
                    <a:pt x="605" y="234"/>
                  </a:cubicBezTo>
                  <a:cubicBezTo>
                    <a:pt x="741" y="371"/>
                    <a:pt x="741" y="371"/>
                    <a:pt x="741" y="371"/>
                  </a:cubicBezTo>
                  <a:cubicBezTo>
                    <a:pt x="634" y="478"/>
                    <a:pt x="634" y="478"/>
                    <a:pt x="634" y="478"/>
                  </a:cubicBezTo>
                  <a:cubicBezTo>
                    <a:pt x="613" y="460"/>
                    <a:pt x="587" y="450"/>
                    <a:pt x="560" y="450"/>
                  </a:cubicBezTo>
                  <a:cubicBezTo>
                    <a:pt x="530" y="450"/>
                    <a:pt x="503" y="461"/>
                    <a:pt x="482" y="482"/>
                  </a:cubicBezTo>
                  <a:cubicBezTo>
                    <a:pt x="461" y="503"/>
                    <a:pt x="450" y="530"/>
                    <a:pt x="450" y="560"/>
                  </a:cubicBezTo>
                  <a:cubicBezTo>
                    <a:pt x="450" y="587"/>
                    <a:pt x="460" y="613"/>
                    <a:pt x="478" y="633"/>
                  </a:cubicBezTo>
                  <a:cubicBezTo>
                    <a:pt x="371" y="741"/>
                    <a:pt x="371" y="741"/>
                    <a:pt x="371" y="741"/>
                  </a:cubicBezTo>
                  <a:lnTo>
                    <a:pt x="233" y="604"/>
                  </a:lnTo>
                  <a:close/>
                </a:path>
              </a:pathLst>
            </a:custGeom>
            <a:solidFill>
              <a:srgbClr val="4378FB"/>
            </a:solidFill>
            <a:ln w="9525">
              <a:solidFill>
                <a:srgbClr val="2BBB99"/>
              </a:solidFill>
              <a:round/>
              <a:headEnd/>
              <a:tailEnd/>
            </a:ln>
          </p:spPr>
          <p:txBody>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endParaRPr lang="zh-CN" altLang="en-US"/>
            </a:p>
          </p:txBody>
        </p:sp>
        <p:sp>
          <p:nvSpPr>
            <p:cNvPr id="38927" name="Freeform 9"/>
            <p:cNvSpPr>
              <a:spLocks noChangeArrowheads="1"/>
            </p:cNvSpPr>
            <p:nvPr/>
          </p:nvSpPr>
          <p:spPr bwMode="auto">
            <a:xfrm>
              <a:off x="2958" y="391"/>
              <a:ext cx="1749" cy="1747"/>
            </a:xfrm>
            <a:custGeom>
              <a:avLst/>
              <a:gdLst>
                <a:gd name="T0" fmla="*/ 264 w 739"/>
                <a:gd name="T1" fmla="*/ 632 h 738"/>
                <a:gd name="T2" fmla="*/ 258 w 739"/>
                <a:gd name="T3" fmla="*/ 482 h 738"/>
                <a:gd name="T4" fmla="*/ 180 w 739"/>
                <a:gd name="T5" fmla="*/ 449 h 738"/>
                <a:gd name="T6" fmla="*/ 109 w 739"/>
                <a:gd name="T7" fmla="*/ 476 h 738"/>
                <a:gd name="T8" fmla="*/ 0 w 739"/>
                <a:gd name="T9" fmla="*/ 368 h 738"/>
                <a:gd name="T10" fmla="*/ 368 w 739"/>
                <a:gd name="T11" fmla="*/ 0 h 738"/>
                <a:gd name="T12" fmla="*/ 506 w 739"/>
                <a:gd name="T13" fmla="*/ 137 h 738"/>
                <a:gd name="T14" fmla="*/ 510 w 739"/>
                <a:gd name="T15" fmla="*/ 131 h 738"/>
                <a:gd name="T16" fmla="*/ 520 w 739"/>
                <a:gd name="T17" fmla="*/ 118 h 738"/>
                <a:gd name="T18" fmla="*/ 571 w 739"/>
                <a:gd name="T19" fmla="*/ 97 h 738"/>
                <a:gd name="T20" fmla="*/ 622 w 739"/>
                <a:gd name="T21" fmla="*/ 118 h 738"/>
                <a:gd name="T22" fmla="*/ 643 w 739"/>
                <a:gd name="T23" fmla="*/ 169 h 738"/>
                <a:gd name="T24" fmla="*/ 622 w 739"/>
                <a:gd name="T25" fmla="*/ 220 h 738"/>
                <a:gd name="T26" fmla="*/ 609 w 739"/>
                <a:gd name="T27" fmla="*/ 231 h 738"/>
                <a:gd name="T28" fmla="*/ 603 w 739"/>
                <a:gd name="T29" fmla="*/ 235 h 738"/>
                <a:gd name="T30" fmla="*/ 739 w 739"/>
                <a:gd name="T31" fmla="*/ 370 h 738"/>
                <a:gd name="T32" fmla="*/ 605 w 739"/>
                <a:gd name="T33" fmla="*/ 504 h 738"/>
                <a:gd name="T34" fmla="*/ 612 w 739"/>
                <a:gd name="T35" fmla="*/ 508 h 738"/>
                <a:gd name="T36" fmla="*/ 627 w 739"/>
                <a:gd name="T37" fmla="*/ 520 h 738"/>
                <a:gd name="T38" fmla="*/ 649 w 739"/>
                <a:gd name="T39" fmla="*/ 571 h 738"/>
                <a:gd name="T40" fmla="*/ 627 w 739"/>
                <a:gd name="T41" fmla="*/ 623 h 738"/>
                <a:gd name="T42" fmla="*/ 576 w 739"/>
                <a:gd name="T43" fmla="*/ 644 h 738"/>
                <a:gd name="T44" fmla="*/ 525 w 739"/>
                <a:gd name="T45" fmla="*/ 623 h 738"/>
                <a:gd name="T46" fmla="*/ 513 w 739"/>
                <a:gd name="T47" fmla="*/ 607 h 738"/>
                <a:gd name="T48" fmla="*/ 509 w 739"/>
                <a:gd name="T49" fmla="*/ 600 h 738"/>
                <a:gd name="T50" fmla="*/ 371 w 739"/>
                <a:gd name="T51" fmla="*/ 738 h 738"/>
                <a:gd name="T52" fmla="*/ 264 w 739"/>
                <a:gd name="T53" fmla="*/ 632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9" h="738">
                  <a:moveTo>
                    <a:pt x="264" y="632"/>
                  </a:moveTo>
                  <a:cubicBezTo>
                    <a:pt x="302" y="588"/>
                    <a:pt x="299" y="523"/>
                    <a:pt x="258" y="482"/>
                  </a:cubicBezTo>
                  <a:cubicBezTo>
                    <a:pt x="237" y="461"/>
                    <a:pt x="210" y="449"/>
                    <a:pt x="180" y="449"/>
                  </a:cubicBezTo>
                  <a:cubicBezTo>
                    <a:pt x="154" y="449"/>
                    <a:pt x="129" y="459"/>
                    <a:pt x="109" y="476"/>
                  </a:cubicBezTo>
                  <a:cubicBezTo>
                    <a:pt x="0" y="368"/>
                    <a:pt x="0" y="368"/>
                    <a:pt x="0" y="368"/>
                  </a:cubicBezTo>
                  <a:cubicBezTo>
                    <a:pt x="368" y="0"/>
                    <a:pt x="368" y="0"/>
                    <a:pt x="368" y="0"/>
                  </a:cubicBezTo>
                  <a:cubicBezTo>
                    <a:pt x="506" y="137"/>
                    <a:pt x="506" y="137"/>
                    <a:pt x="506" y="137"/>
                  </a:cubicBezTo>
                  <a:cubicBezTo>
                    <a:pt x="510" y="131"/>
                    <a:pt x="510" y="131"/>
                    <a:pt x="510" y="131"/>
                  </a:cubicBezTo>
                  <a:cubicBezTo>
                    <a:pt x="513" y="126"/>
                    <a:pt x="516" y="122"/>
                    <a:pt x="520" y="118"/>
                  </a:cubicBezTo>
                  <a:cubicBezTo>
                    <a:pt x="534" y="104"/>
                    <a:pt x="552" y="97"/>
                    <a:pt x="571" y="97"/>
                  </a:cubicBezTo>
                  <a:cubicBezTo>
                    <a:pt x="590" y="97"/>
                    <a:pt x="608" y="104"/>
                    <a:pt x="622" y="118"/>
                  </a:cubicBezTo>
                  <a:cubicBezTo>
                    <a:pt x="636" y="132"/>
                    <a:pt x="643" y="150"/>
                    <a:pt x="643" y="169"/>
                  </a:cubicBezTo>
                  <a:cubicBezTo>
                    <a:pt x="643" y="189"/>
                    <a:pt x="636" y="207"/>
                    <a:pt x="622" y="220"/>
                  </a:cubicBezTo>
                  <a:cubicBezTo>
                    <a:pt x="618" y="224"/>
                    <a:pt x="614" y="228"/>
                    <a:pt x="609" y="231"/>
                  </a:cubicBezTo>
                  <a:cubicBezTo>
                    <a:pt x="603" y="235"/>
                    <a:pt x="603" y="235"/>
                    <a:pt x="603" y="235"/>
                  </a:cubicBezTo>
                  <a:cubicBezTo>
                    <a:pt x="739" y="370"/>
                    <a:pt x="739" y="370"/>
                    <a:pt x="739" y="370"/>
                  </a:cubicBezTo>
                  <a:cubicBezTo>
                    <a:pt x="605" y="504"/>
                    <a:pt x="605" y="504"/>
                    <a:pt x="605" y="504"/>
                  </a:cubicBezTo>
                  <a:cubicBezTo>
                    <a:pt x="612" y="508"/>
                    <a:pt x="612" y="508"/>
                    <a:pt x="612" y="508"/>
                  </a:cubicBezTo>
                  <a:cubicBezTo>
                    <a:pt x="617" y="512"/>
                    <a:pt x="623" y="516"/>
                    <a:pt x="627" y="520"/>
                  </a:cubicBezTo>
                  <a:cubicBezTo>
                    <a:pt x="641" y="534"/>
                    <a:pt x="649" y="552"/>
                    <a:pt x="649" y="571"/>
                  </a:cubicBezTo>
                  <a:cubicBezTo>
                    <a:pt x="649" y="591"/>
                    <a:pt x="641" y="609"/>
                    <a:pt x="627" y="623"/>
                  </a:cubicBezTo>
                  <a:cubicBezTo>
                    <a:pt x="614" y="636"/>
                    <a:pt x="596" y="644"/>
                    <a:pt x="576" y="644"/>
                  </a:cubicBezTo>
                  <a:cubicBezTo>
                    <a:pt x="557" y="644"/>
                    <a:pt x="539" y="636"/>
                    <a:pt x="525" y="623"/>
                  </a:cubicBezTo>
                  <a:cubicBezTo>
                    <a:pt x="521" y="618"/>
                    <a:pt x="517" y="613"/>
                    <a:pt x="513" y="607"/>
                  </a:cubicBezTo>
                  <a:cubicBezTo>
                    <a:pt x="509" y="600"/>
                    <a:pt x="509" y="600"/>
                    <a:pt x="509" y="600"/>
                  </a:cubicBezTo>
                  <a:cubicBezTo>
                    <a:pt x="371" y="738"/>
                    <a:pt x="371" y="738"/>
                    <a:pt x="371" y="738"/>
                  </a:cubicBezTo>
                  <a:lnTo>
                    <a:pt x="264" y="632"/>
                  </a:lnTo>
                  <a:close/>
                </a:path>
              </a:pathLst>
            </a:custGeom>
            <a:solidFill>
              <a:srgbClr val="0070C0"/>
            </a:solidFill>
            <a:ln w="9525">
              <a:solidFill>
                <a:srgbClr val="2BBB99"/>
              </a:solidFill>
              <a:round/>
              <a:headEnd/>
              <a:tailEnd/>
            </a:ln>
          </p:spPr>
          <p:txBody>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endParaRPr lang="zh-CN" altLang="en-US"/>
            </a:p>
          </p:txBody>
        </p:sp>
        <p:sp>
          <p:nvSpPr>
            <p:cNvPr id="38928" name="Freeform 11"/>
            <p:cNvSpPr>
              <a:spLocks noChangeArrowheads="1"/>
            </p:cNvSpPr>
            <p:nvPr/>
          </p:nvSpPr>
          <p:spPr bwMode="auto">
            <a:xfrm>
              <a:off x="2033" y="1328"/>
              <a:ext cx="1749" cy="1747"/>
            </a:xfrm>
            <a:custGeom>
              <a:avLst/>
              <a:gdLst>
                <a:gd name="T0" fmla="*/ 226 w 739"/>
                <a:gd name="T1" fmla="*/ 597 h 738"/>
                <a:gd name="T2" fmla="*/ 224 w 739"/>
                <a:gd name="T3" fmla="*/ 606 h 738"/>
                <a:gd name="T4" fmla="*/ 206 w 739"/>
                <a:gd name="T5" fmla="*/ 635 h 738"/>
                <a:gd name="T6" fmla="*/ 155 w 739"/>
                <a:gd name="T7" fmla="*/ 657 h 738"/>
                <a:gd name="T8" fmla="*/ 155 w 739"/>
                <a:gd name="T9" fmla="*/ 657 h 738"/>
                <a:gd name="T10" fmla="*/ 103 w 739"/>
                <a:gd name="T11" fmla="*/ 635 h 738"/>
                <a:gd name="T12" fmla="*/ 82 w 739"/>
                <a:gd name="T13" fmla="*/ 584 h 738"/>
                <a:gd name="T14" fmla="*/ 103 w 739"/>
                <a:gd name="T15" fmla="*/ 533 h 738"/>
                <a:gd name="T16" fmla="*/ 133 w 739"/>
                <a:gd name="T17" fmla="*/ 515 h 738"/>
                <a:gd name="T18" fmla="*/ 142 w 739"/>
                <a:gd name="T19" fmla="*/ 512 h 738"/>
                <a:gd name="T20" fmla="*/ 0 w 739"/>
                <a:gd name="T21" fmla="*/ 370 h 738"/>
                <a:gd name="T22" fmla="*/ 138 w 739"/>
                <a:gd name="T23" fmla="*/ 233 h 738"/>
                <a:gd name="T24" fmla="*/ 130 w 739"/>
                <a:gd name="T25" fmla="*/ 229 h 738"/>
                <a:gd name="T26" fmla="*/ 109 w 739"/>
                <a:gd name="T27" fmla="*/ 215 h 738"/>
                <a:gd name="T28" fmla="*/ 109 w 739"/>
                <a:gd name="T29" fmla="*/ 112 h 738"/>
                <a:gd name="T30" fmla="*/ 160 w 739"/>
                <a:gd name="T31" fmla="*/ 91 h 738"/>
                <a:gd name="T32" fmla="*/ 211 w 739"/>
                <a:gd name="T33" fmla="*/ 112 h 738"/>
                <a:gd name="T34" fmla="*/ 226 w 739"/>
                <a:gd name="T35" fmla="*/ 134 h 738"/>
                <a:gd name="T36" fmla="*/ 229 w 739"/>
                <a:gd name="T37" fmla="*/ 141 h 738"/>
                <a:gd name="T38" fmla="*/ 371 w 739"/>
                <a:gd name="T39" fmla="*/ 0 h 738"/>
                <a:gd name="T40" fmla="*/ 507 w 739"/>
                <a:gd name="T41" fmla="*/ 136 h 738"/>
                <a:gd name="T42" fmla="*/ 511 w 739"/>
                <a:gd name="T43" fmla="*/ 129 h 738"/>
                <a:gd name="T44" fmla="*/ 522 w 739"/>
                <a:gd name="T45" fmla="*/ 115 h 738"/>
                <a:gd name="T46" fmla="*/ 573 w 739"/>
                <a:gd name="T47" fmla="*/ 93 h 738"/>
                <a:gd name="T48" fmla="*/ 624 w 739"/>
                <a:gd name="T49" fmla="*/ 115 h 738"/>
                <a:gd name="T50" fmla="*/ 624 w 739"/>
                <a:gd name="T51" fmla="*/ 217 h 738"/>
                <a:gd name="T52" fmla="*/ 610 w 739"/>
                <a:gd name="T53" fmla="*/ 228 h 738"/>
                <a:gd name="T54" fmla="*/ 603 w 739"/>
                <a:gd name="T55" fmla="*/ 232 h 738"/>
                <a:gd name="T56" fmla="*/ 739 w 739"/>
                <a:gd name="T57" fmla="*/ 368 h 738"/>
                <a:gd name="T58" fmla="*/ 601 w 739"/>
                <a:gd name="T59" fmla="*/ 505 h 738"/>
                <a:gd name="T60" fmla="*/ 608 w 739"/>
                <a:gd name="T61" fmla="*/ 509 h 738"/>
                <a:gd name="T62" fmla="*/ 624 w 739"/>
                <a:gd name="T63" fmla="*/ 521 h 738"/>
                <a:gd name="T64" fmla="*/ 624 w 739"/>
                <a:gd name="T65" fmla="*/ 623 h 738"/>
                <a:gd name="T66" fmla="*/ 572 w 739"/>
                <a:gd name="T67" fmla="*/ 644 h 738"/>
                <a:gd name="T68" fmla="*/ 521 w 739"/>
                <a:gd name="T69" fmla="*/ 623 h 738"/>
                <a:gd name="T70" fmla="*/ 509 w 739"/>
                <a:gd name="T71" fmla="*/ 607 h 738"/>
                <a:gd name="T72" fmla="*/ 506 w 739"/>
                <a:gd name="T73" fmla="*/ 601 h 738"/>
                <a:gd name="T74" fmla="*/ 368 w 739"/>
                <a:gd name="T75" fmla="*/ 738 h 738"/>
                <a:gd name="T76" fmla="*/ 226 w 739"/>
                <a:gd name="T77" fmla="*/ 597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9" h="738">
                  <a:moveTo>
                    <a:pt x="226" y="597"/>
                  </a:moveTo>
                  <a:cubicBezTo>
                    <a:pt x="224" y="606"/>
                    <a:pt x="224" y="606"/>
                    <a:pt x="224" y="606"/>
                  </a:cubicBezTo>
                  <a:cubicBezTo>
                    <a:pt x="220" y="617"/>
                    <a:pt x="214" y="627"/>
                    <a:pt x="206" y="635"/>
                  </a:cubicBezTo>
                  <a:cubicBezTo>
                    <a:pt x="192" y="649"/>
                    <a:pt x="174" y="657"/>
                    <a:pt x="155" y="657"/>
                  </a:cubicBezTo>
                  <a:cubicBezTo>
                    <a:pt x="155" y="657"/>
                    <a:pt x="155" y="657"/>
                    <a:pt x="155" y="657"/>
                  </a:cubicBezTo>
                  <a:cubicBezTo>
                    <a:pt x="135" y="657"/>
                    <a:pt x="117" y="649"/>
                    <a:pt x="103" y="635"/>
                  </a:cubicBezTo>
                  <a:cubicBezTo>
                    <a:pt x="90" y="622"/>
                    <a:pt x="82" y="604"/>
                    <a:pt x="82" y="584"/>
                  </a:cubicBezTo>
                  <a:cubicBezTo>
                    <a:pt x="82" y="565"/>
                    <a:pt x="90" y="547"/>
                    <a:pt x="103" y="533"/>
                  </a:cubicBezTo>
                  <a:cubicBezTo>
                    <a:pt x="112" y="525"/>
                    <a:pt x="122" y="519"/>
                    <a:pt x="133" y="515"/>
                  </a:cubicBezTo>
                  <a:cubicBezTo>
                    <a:pt x="142" y="512"/>
                    <a:pt x="142" y="512"/>
                    <a:pt x="142" y="512"/>
                  </a:cubicBezTo>
                  <a:cubicBezTo>
                    <a:pt x="0" y="370"/>
                    <a:pt x="0" y="370"/>
                    <a:pt x="0" y="370"/>
                  </a:cubicBezTo>
                  <a:cubicBezTo>
                    <a:pt x="138" y="233"/>
                    <a:pt x="138" y="233"/>
                    <a:pt x="138" y="233"/>
                  </a:cubicBezTo>
                  <a:cubicBezTo>
                    <a:pt x="130" y="229"/>
                    <a:pt x="130" y="229"/>
                    <a:pt x="130" y="229"/>
                  </a:cubicBezTo>
                  <a:cubicBezTo>
                    <a:pt x="122" y="226"/>
                    <a:pt x="115" y="221"/>
                    <a:pt x="109" y="215"/>
                  </a:cubicBezTo>
                  <a:cubicBezTo>
                    <a:pt x="81" y="186"/>
                    <a:pt x="81" y="141"/>
                    <a:pt x="109" y="112"/>
                  </a:cubicBezTo>
                  <a:cubicBezTo>
                    <a:pt x="122" y="99"/>
                    <a:pt x="141" y="91"/>
                    <a:pt x="160" y="91"/>
                  </a:cubicBezTo>
                  <a:cubicBezTo>
                    <a:pt x="179" y="91"/>
                    <a:pt x="197" y="99"/>
                    <a:pt x="211" y="112"/>
                  </a:cubicBezTo>
                  <a:cubicBezTo>
                    <a:pt x="217" y="118"/>
                    <a:pt x="222" y="126"/>
                    <a:pt x="226" y="134"/>
                  </a:cubicBezTo>
                  <a:cubicBezTo>
                    <a:pt x="229" y="141"/>
                    <a:pt x="229" y="141"/>
                    <a:pt x="229" y="141"/>
                  </a:cubicBezTo>
                  <a:cubicBezTo>
                    <a:pt x="371" y="0"/>
                    <a:pt x="371" y="0"/>
                    <a:pt x="371" y="0"/>
                  </a:cubicBezTo>
                  <a:cubicBezTo>
                    <a:pt x="507" y="136"/>
                    <a:pt x="507" y="136"/>
                    <a:pt x="507" y="136"/>
                  </a:cubicBezTo>
                  <a:cubicBezTo>
                    <a:pt x="511" y="129"/>
                    <a:pt x="511" y="129"/>
                    <a:pt x="511" y="129"/>
                  </a:cubicBezTo>
                  <a:cubicBezTo>
                    <a:pt x="514" y="124"/>
                    <a:pt x="518" y="119"/>
                    <a:pt x="522" y="115"/>
                  </a:cubicBezTo>
                  <a:cubicBezTo>
                    <a:pt x="536" y="101"/>
                    <a:pt x="554" y="93"/>
                    <a:pt x="573" y="93"/>
                  </a:cubicBezTo>
                  <a:cubicBezTo>
                    <a:pt x="592" y="93"/>
                    <a:pt x="611" y="101"/>
                    <a:pt x="624" y="115"/>
                  </a:cubicBezTo>
                  <a:cubicBezTo>
                    <a:pt x="652" y="143"/>
                    <a:pt x="652" y="189"/>
                    <a:pt x="624" y="217"/>
                  </a:cubicBezTo>
                  <a:cubicBezTo>
                    <a:pt x="620" y="221"/>
                    <a:pt x="615" y="225"/>
                    <a:pt x="610" y="228"/>
                  </a:cubicBezTo>
                  <a:cubicBezTo>
                    <a:pt x="603" y="232"/>
                    <a:pt x="603" y="232"/>
                    <a:pt x="603" y="232"/>
                  </a:cubicBezTo>
                  <a:cubicBezTo>
                    <a:pt x="739" y="368"/>
                    <a:pt x="739" y="368"/>
                    <a:pt x="739" y="368"/>
                  </a:cubicBezTo>
                  <a:cubicBezTo>
                    <a:pt x="601" y="505"/>
                    <a:pt x="601" y="505"/>
                    <a:pt x="601" y="505"/>
                  </a:cubicBezTo>
                  <a:cubicBezTo>
                    <a:pt x="608" y="509"/>
                    <a:pt x="608" y="509"/>
                    <a:pt x="608" y="509"/>
                  </a:cubicBezTo>
                  <a:cubicBezTo>
                    <a:pt x="614" y="512"/>
                    <a:pt x="619" y="516"/>
                    <a:pt x="624" y="521"/>
                  </a:cubicBezTo>
                  <a:cubicBezTo>
                    <a:pt x="652" y="549"/>
                    <a:pt x="652" y="595"/>
                    <a:pt x="624" y="623"/>
                  </a:cubicBezTo>
                  <a:cubicBezTo>
                    <a:pt x="610" y="637"/>
                    <a:pt x="592" y="644"/>
                    <a:pt x="572" y="644"/>
                  </a:cubicBezTo>
                  <a:cubicBezTo>
                    <a:pt x="553" y="644"/>
                    <a:pt x="535" y="637"/>
                    <a:pt x="521" y="623"/>
                  </a:cubicBezTo>
                  <a:cubicBezTo>
                    <a:pt x="517" y="619"/>
                    <a:pt x="513" y="613"/>
                    <a:pt x="509" y="607"/>
                  </a:cubicBezTo>
                  <a:cubicBezTo>
                    <a:pt x="506" y="601"/>
                    <a:pt x="506" y="601"/>
                    <a:pt x="506" y="601"/>
                  </a:cubicBezTo>
                  <a:cubicBezTo>
                    <a:pt x="368" y="738"/>
                    <a:pt x="368" y="738"/>
                    <a:pt x="368" y="738"/>
                  </a:cubicBezTo>
                  <a:lnTo>
                    <a:pt x="226" y="597"/>
                  </a:lnTo>
                  <a:close/>
                </a:path>
              </a:pathLst>
            </a:custGeom>
            <a:solidFill>
              <a:srgbClr val="089DA3"/>
            </a:solidFill>
            <a:ln w="9525">
              <a:solidFill>
                <a:srgbClr val="2BBB99"/>
              </a:solidFill>
              <a:round/>
              <a:headEnd/>
              <a:tailEnd/>
            </a:ln>
          </p:spPr>
          <p:txBody>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endParaRPr lang="zh-CN" altLang="en-US"/>
            </a:p>
          </p:txBody>
        </p:sp>
        <p:sp>
          <p:nvSpPr>
            <p:cNvPr id="38929" name="AutoShape 3"/>
            <p:cNvSpPr>
              <a:spLocks noChangeAspect="1" noChangeArrowheads="1" noTextEdit="1"/>
            </p:cNvSpPr>
            <p:nvPr/>
          </p:nvSpPr>
          <p:spPr bwMode="auto">
            <a:xfrm>
              <a:off x="2012" y="328"/>
              <a:ext cx="3656" cy="3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435" tIns="48217" rIns="96435" bIns="48217"/>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endParaRPr lang="en-US" altLang="zh-CN" sz="100">
                <a:solidFill>
                  <a:srgbClr val="404040"/>
                </a:solidFill>
              </a:endParaRPr>
            </a:p>
          </p:txBody>
        </p:sp>
        <p:sp>
          <p:nvSpPr>
            <p:cNvPr id="38930" name="Freeform 13"/>
            <p:cNvSpPr>
              <a:spLocks noChangeArrowheads="1"/>
            </p:cNvSpPr>
            <p:nvPr/>
          </p:nvSpPr>
          <p:spPr bwMode="auto">
            <a:xfrm>
              <a:off x="4506" y="1265"/>
              <a:ext cx="911" cy="384"/>
            </a:xfrm>
            <a:custGeom>
              <a:avLst/>
              <a:gdLst>
                <a:gd name="T0" fmla="*/ 385 w 385"/>
                <a:gd name="T1" fmla="*/ 143 h 162"/>
                <a:gd name="T2" fmla="*/ 371 w 385"/>
                <a:gd name="T3" fmla="*/ 123 h 162"/>
                <a:gd name="T4" fmla="*/ 260 w 385"/>
                <a:gd name="T5" fmla="*/ 123 h 162"/>
                <a:gd name="T6" fmla="*/ 249 w 385"/>
                <a:gd name="T7" fmla="*/ 137 h 162"/>
                <a:gd name="T8" fmla="*/ 113 w 385"/>
                <a:gd name="T9" fmla="*/ 0 h 162"/>
                <a:gd name="T10" fmla="*/ 0 w 385"/>
                <a:gd name="T11" fmla="*/ 113 h 162"/>
                <a:gd name="T12" fmla="*/ 27 w 385"/>
                <a:gd name="T13" fmla="*/ 162 h 162"/>
                <a:gd name="T14" fmla="*/ 385 w 385"/>
                <a:gd name="T15" fmla="*/ 143 h 1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5" h="162">
                  <a:moveTo>
                    <a:pt x="385" y="143"/>
                  </a:moveTo>
                  <a:cubicBezTo>
                    <a:pt x="382" y="136"/>
                    <a:pt x="377" y="129"/>
                    <a:pt x="371" y="123"/>
                  </a:cubicBezTo>
                  <a:cubicBezTo>
                    <a:pt x="340" y="92"/>
                    <a:pt x="291" y="92"/>
                    <a:pt x="260" y="123"/>
                  </a:cubicBezTo>
                  <a:cubicBezTo>
                    <a:pt x="256" y="127"/>
                    <a:pt x="252" y="132"/>
                    <a:pt x="249" y="137"/>
                  </a:cubicBezTo>
                  <a:cubicBezTo>
                    <a:pt x="113" y="0"/>
                    <a:pt x="113" y="0"/>
                    <a:pt x="113" y="0"/>
                  </a:cubicBezTo>
                  <a:cubicBezTo>
                    <a:pt x="0" y="113"/>
                    <a:pt x="0" y="113"/>
                    <a:pt x="0" y="113"/>
                  </a:cubicBezTo>
                  <a:cubicBezTo>
                    <a:pt x="14" y="127"/>
                    <a:pt x="22" y="144"/>
                    <a:pt x="27" y="162"/>
                  </a:cubicBezTo>
                  <a:cubicBezTo>
                    <a:pt x="137" y="148"/>
                    <a:pt x="256" y="141"/>
                    <a:pt x="385" y="143"/>
                  </a:cubicBezTo>
                  <a:close/>
                </a:path>
              </a:pathLst>
            </a:custGeom>
            <a:solidFill>
              <a:srgbClr val="FFFFFF">
                <a:alpha val="21999"/>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endParaRPr lang="zh-CN" altLang="en-US"/>
            </a:p>
          </p:txBody>
        </p:sp>
        <p:sp>
          <p:nvSpPr>
            <p:cNvPr id="38931" name="Freeform 15"/>
            <p:cNvSpPr>
              <a:spLocks noChangeArrowheads="1"/>
            </p:cNvSpPr>
            <p:nvPr/>
          </p:nvSpPr>
          <p:spPr bwMode="auto">
            <a:xfrm>
              <a:off x="2014" y="1265"/>
              <a:ext cx="1579" cy="1229"/>
            </a:xfrm>
            <a:custGeom>
              <a:avLst/>
              <a:gdLst>
                <a:gd name="T0" fmla="*/ 621 w 667"/>
                <a:gd name="T1" fmla="*/ 242 h 519"/>
                <a:gd name="T2" fmla="*/ 637 w 667"/>
                <a:gd name="T3" fmla="*/ 230 h 519"/>
                <a:gd name="T4" fmla="*/ 637 w 667"/>
                <a:gd name="T5" fmla="*/ 119 h 519"/>
                <a:gd name="T6" fmla="*/ 526 w 667"/>
                <a:gd name="T7" fmla="*/ 119 h 519"/>
                <a:gd name="T8" fmla="*/ 514 w 667"/>
                <a:gd name="T9" fmla="*/ 135 h 519"/>
                <a:gd name="T10" fmla="*/ 494 w 667"/>
                <a:gd name="T11" fmla="*/ 115 h 519"/>
                <a:gd name="T12" fmla="*/ 379 w 667"/>
                <a:gd name="T13" fmla="*/ 0 h 519"/>
                <a:gd name="T14" fmla="*/ 239 w 667"/>
                <a:gd name="T15" fmla="*/ 140 h 519"/>
                <a:gd name="T16" fmla="*/ 223 w 667"/>
                <a:gd name="T17" fmla="*/ 117 h 519"/>
                <a:gd name="T18" fmla="*/ 113 w 667"/>
                <a:gd name="T19" fmla="*/ 117 h 519"/>
                <a:gd name="T20" fmla="*/ 113 w 667"/>
                <a:gd name="T21" fmla="*/ 228 h 519"/>
                <a:gd name="T22" fmla="*/ 136 w 667"/>
                <a:gd name="T23" fmla="*/ 244 h 519"/>
                <a:gd name="T24" fmla="*/ 0 w 667"/>
                <a:gd name="T25" fmla="*/ 379 h 519"/>
                <a:gd name="T26" fmla="*/ 139 w 667"/>
                <a:gd name="T27" fmla="*/ 519 h 519"/>
                <a:gd name="T28" fmla="*/ 139 w 667"/>
                <a:gd name="T29" fmla="*/ 519 h 519"/>
                <a:gd name="T30" fmla="*/ 139 w 667"/>
                <a:gd name="T31" fmla="*/ 519 h 519"/>
                <a:gd name="T32" fmla="*/ 641 w 667"/>
                <a:gd name="T33" fmla="*/ 262 h 519"/>
                <a:gd name="T34" fmla="*/ 639 w 667"/>
                <a:gd name="T35" fmla="*/ 260 h 519"/>
                <a:gd name="T36" fmla="*/ 621 w 667"/>
                <a:gd name="T37" fmla="*/ 242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7" h="519">
                  <a:moveTo>
                    <a:pt x="621" y="242"/>
                  </a:moveTo>
                  <a:cubicBezTo>
                    <a:pt x="626" y="239"/>
                    <a:pt x="632" y="235"/>
                    <a:pt x="637" y="230"/>
                  </a:cubicBezTo>
                  <a:cubicBezTo>
                    <a:pt x="667" y="199"/>
                    <a:pt x="667" y="150"/>
                    <a:pt x="637" y="119"/>
                  </a:cubicBezTo>
                  <a:cubicBezTo>
                    <a:pt x="606" y="89"/>
                    <a:pt x="556" y="89"/>
                    <a:pt x="526" y="119"/>
                  </a:cubicBezTo>
                  <a:cubicBezTo>
                    <a:pt x="521" y="124"/>
                    <a:pt x="517" y="129"/>
                    <a:pt x="514" y="135"/>
                  </a:cubicBezTo>
                  <a:cubicBezTo>
                    <a:pt x="494" y="115"/>
                    <a:pt x="494" y="115"/>
                    <a:pt x="494" y="115"/>
                  </a:cubicBezTo>
                  <a:cubicBezTo>
                    <a:pt x="379" y="0"/>
                    <a:pt x="379" y="0"/>
                    <a:pt x="379" y="0"/>
                  </a:cubicBezTo>
                  <a:cubicBezTo>
                    <a:pt x="239" y="140"/>
                    <a:pt x="239" y="140"/>
                    <a:pt x="239" y="140"/>
                  </a:cubicBezTo>
                  <a:cubicBezTo>
                    <a:pt x="235" y="132"/>
                    <a:pt x="230" y="124"/>
                    <a:pt x="223" y="117"/>
                  </a:cubicBezTo>
                  <a:cubicBezTo>
                    <a:pt x="193" y="87"/>
                    <a:pt x="143" y="87"/>
                    <a:pt x="113" y="117"/>
                  </a:cubicBezTo>
                  <a:cubicBezTo>
                    <a:pt x="82" y="148"/>
                    <a:pt x="82" y="197"/>
                    <a:pt x="113" y="228"/>
                  </a:cubicBezTo>
                  <a:cubicBezTo>
                    <a:pt x="119" y="235"/>
                    <a:pt x="127" y="240"/>
                    <a:pt x="136" y="244"/>
                  </a:cubicBezTo>
                  <a:cubicBezTo>
                    <a:pt x="0" y="379"/>
                    <a:pt x="0" y="379"/>
                    <a:pt x="0" y="379"/>
                  </a:cubicBezTo>
                  <a:cubicBezTo>
                    <a:pt x="139" y="519"/>
                    <a:pt x="139" y="519"/>
                    <a:pt x="139" y="519"/>
                  </a:cubicBezTo>
                  <a:cubicBezTo>
                    <a:pt x="139" y="519"/>
                    <a:pt x="139" y="519"/>
                    <a:pt x="139" y="519"/>
                  </a:cubicBezTo>
                  <a:cubicBezTo>
                    <a:pt x="139" y="519"/>
                    <a:pt x="139" y="519"/>
                    <a:pt x="139" y="519"/>
                  </a:cubicBezTo>
                  <a:cubicBezTo>
                    <a:pt x="237" y="435"/>
                    <a:pt x="442" y="314"/>
                    <a:pt x="641" y="262"/>
                  </a:cubicBezTo>
                  <a:cubicBezTo>
                    <a:pt x="639" y="260"/>
                    <a:pt x="639" y="260"/>
                    <a:pt x="639" y="260"/>
                  </a:cubicBezTo>
                  <a:lnTo>
                    <a:pt x="621" y="24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endParaRPr lang="zh-CN" altLang="en-US"/>
            </a:p>
          </p:txBody>
        </p:sp>
      </p:grpSp>
      <p:sp>
        <p:nvSpPr>
          <p:cNvPr id="38932" name="文本框 34"/>
          <p:cNvSpPr txBox="1">
            <a:spLocks noChangeArrowheads="1"/>
          </p:cNvSpPr>
          <p:nvPr/>
        </p:nvSpPr>
        <p:spPr bwMode="auto">
          <a:xfrm>
            <a:off x="3597275" y="4549775"/>
            <a:ext cx="11239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zh-CN" altLang="en-US" b="1">
                <a:solidFill>
                  <a:schemeClr val="bg1"/>
                </a:solidFill>
                <a:latin typeface="微软雅黑" pitchFamily="34" charset="-122"/>
              </a:rPr>
              <a:t>范围</a:t>
            </a:r>
          </a:p>
        </p:txBody>
      </p:sp>
      <p:sp>
        <p:nvSpPr>
          <p:cNvPr id="38933" name="文本框 35"/>
          <p:cNvSpPr txBox="1">
            <a:spLocks noChangeArrowheads="1"/>
          </p:cNvSpPr>
          <p:nvPr/>
        </p:nvSpPr>
        <p:spPr bwMode="auto">
          <a:xfrm>
            <a:off x="4230688" y="5167313"/>
            <a:ext cx="11239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zh-CN" altLang="en-US" b="1">
                <a:solidFill>
                  <a:schemeClr val="bg1"/>
                </a:solidFill>
                <a:latin typeface="微软雅黑" pitchFamily="34" charset="-122"/>
              </a:rPr>
              <a:t>进度</a:t>
            </a:r>
          </a:p>
        </p:txBody>
      </p:sp>
      <p:sp>
        <p:nvSpPr>
          <p:cNvPr id="38934" name="文本框 36"/>
          <p:cNvSpPr txBox="1">
            <a:spLocks noChangeArrowheads="1"/>
          </p:cNvSpPr>
          <p:nvPr/>
        </p:nvSpPr>
        <p:spPr bwMode="auto">
          <a:xfrm>
            <a:off x="4271963" y="3879850"/>
            <a:ext cx="11239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zh-CN" altLang="en-US" b="1">
                <a:solidFill>
                  <a:schemeClr val="bg1"/>
                </a:solidFill>
                <a:latin typeface="微软雅黑" pitchFamily="34" charset="-122"/>
              </a:rPr>
              <a:t>成本</a:t>
            </a:r>
          </a:p>
        </p:txBody>
      </p:sp>
      <p:sp>
        <p:nvSpPr>
          <p:cNvPr id="38935" name="文本框 37"/>
          <p:cNvSpPr txBox="1">
            <a:spLocks noChangeArrowheads="1"/>
          </p:cNvSpPr>
          <p:nvPr/>
        </p:nvSpPr>
        <p:spPr bwMode="auto">
          <a:xfrm>
            <a:off x="4808538" y="4595813"/>
            <a:ext cx="11239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zh-CN" altLang="en-US" b="1">
                <a:solidFill>
                  <a:schemeClr val="bg1"/>
                </a:solidFill>
                <a:latin typeface="微软雅黑" pitchFamily="34" charset="-122"/>
              </a:rPr>
              <a:t>质量</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1" name="Picture 3"/>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6884988" y="1711325"/>
            <a:ext cx="1673225" cy="2362200"/>
          </a:xfrm>
        </p:spPr>
      </p:pic>
      <p:grpSp>
        <p:nvGrpSpPr>
          <p:cNvPr id="40962" name="Group 4"/>
          <p:cNvGrpSpPr>
            <a:grpSpLocks/>
          </p:cNvGrpSpPr>
          <p:nvPr/>
        </p:nvGrpSpPr>
        <p:grpSpPr bwMode="auto">
          <a:xfrm>
            <a:off x="795338" y="1582738"/>
            <a:ext cx="6249987" cy="4365625"/>
            <a:chOff x="0" y="-130"/>
            <a:chExt cx="4416" cy="2914"/>
          </a:xfrm>
        </p:grpSpPr>
        <p:sp>
          <p:nvSpPr>
            <p:cNvPr id="8197" name="AutoShape 5"/>
            <p:cNvSpPr>
              <a:spLocks noChangeArrowheads="1"/>
            </p:cNvSpPr>
            <p:nvPr/>
          </p:nvSpPr>
          <p:spPr bwMode="auto">
            <a:xfrm>
              <a:off x="587" y="451"/>
              <a:ext cx="3281" cy="1623"/>
            </a:xfrm>
            <a:prstGeom prst="upArrow">
              <a:avLst>
                <a:gd name="adj1" fmla="val 57824"/>
                <a:gd name="adj2" fmla="val 54398"/>
              </a:avLst>
            </a:prstGeom>
            <a:gradFill rotWithShape="1">
              <a:gsLst>
                <a:gs pos="0">
                  <a:schemeClr val="folHlink"/>
                </a:gs>
                <a:gs pos="100000">
                  <a:schemeClr val="folHlink">
                    <a:gamma/>
                    <a:tint val="0"/>
                    <a:invGamma/>
                  </a:schemeClr>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76200" dir="10800000" kx="-3284103" algn="br" rotWithShape="0">
                      <a:schemeClr val="bg2">
                        <a:alpha val="50000"/>
                      </a:schemeClr>
                    </a:outerShdw>
                  </a:effectLst>
                </a14:hiddenEffects>
              </a:ext>
            </a:extLst>
          </p:spPr>
          <p:txBody>
            <a:bodyPr wrap="none" anchor="ctr"/>
            <a:lstStyle/>
            <a:p>
              <a:pPr fontAlgn="auto">
                <a:spcBef>
                  <a:spcPts val="0"/>
                </a:spcBef>
                <a:spcAft>
                  <a:spcPts val="0"/>
                </a:spcAft>
                <a:buFontTx/>
                <a:buNone/>
                <a:defRPr/>
              </a:pPr>
              <a:endParaRPr lang="zh-CN" altLang="en-US">
                <a:latin typeface="微软雅黑" panose="020B0503020204020204" pitchFamily="34" charset="-122"/>
              </a:endParaRPr>
            </a:p>
          </p:txBody>
        </p:sp>
        <p:sp>
          <p:nvSpPr>
            <p:cNvPr id="8198" name="AutoShape 6"/>
            <p:cNvSpPr>
              <a:spLocks noChangeArrowheads="1"/>
            </p:cNvSpPr>
            <p:nvPr/>
          </p:nvSpPr>
          <p:spPr bwMode="auto">
            <a:xfrm>
              <a:off x="329" y="-130"/>
              <a:ext cx="3887" cy="340"/>
            </a:xfrm>
            <a:prstGeom prst="roundRect">
              <a:avLst>
                <a:gd name="adj" fmla="val 50000"/>
              </a:avLst>
            </a:prstGeom>
            <a:gradFill rotWithShape="1">
              <a:gsLst>
                <a:gs pos="0">
                  <a:schemeClr val="hlink">
                    <a:gamma/>
                    <a:shade val="48627"/>
                    <a:invGamma/>
                  </a:schemeClr>
                </a:gs>
                <a:gs pos="50000">
                  <a:schemeClr val="hlink"/>
                </a:gs>
                <a:gs pos="100000">
                  <a:schemeClr val="hlink">
                    <a:gamma/>
                    <a:shade val="48627"/>
                    <a:invGamma/>
                  </a:schemeClr>
                </a:gs>
              </a:gsLst>
              <a:lin ang="0" scaled="1"/>
            </a:gradFill>
            <a:ln w="38100" cap="flat" cmpd="sng">
              <a:solidFill>
                <a:srgbClr val="FFFFFF"/>
              </a:solidFill>
              <a:round/>
            </a:ln>
            <a:effectLst>
              <a:outerShdw dist="63500" dir="3187806" algn="ctr" rotWithShape="0">
                <a:srgbClr val="001D3A"/>
              </a:outerShdw>
            </a:effectLst>
          </p:spPr>
          <p:txBody>
            <a:bodyPr wrap="none" anchor="ctr"/>
            <a:lstStyle/>
            <a:p>
              <a:pPr algn="ctr" eaLnBrk="0" fontAlgn="auto" hangingPunct="0">
                <a:spcBef>
                  <a:spcPts val="0"/>
                </a:spcBef>
                <a:spcAft>
                  <a:spcPts val="0"/>
                </a:spcAft>
                <a:buFontTx/>
                <a:buNone/>
                <a:defRPr/>
              </a:pPr>
              <a:r>
                <a:rPr lang="zh-CN" altLang="en-US" b="1" dirty="0">
                  <a:solidFill>
                    <a:schemeClr val="bg1"/>
                  </a:solidFill>
                  <a:latin typeface="微软雅黑" panose="020B0503020204020204" pitchFamily="34" charset="-122"/>
                </a:rPr>
                <a:t>项目是</a:t>
              </a:r>
              <a:r>
                <a:rPr lang="zh-CN" altLang="en-US" sz="3200" b="1" dirty="0">
                  <a:solidFill>
                    <a:srgbClr val="C00000"/>
                  </a:solidFill>
                  <a:latin typeface="微软雅黑" panose="020B0503020204020204" pitchFamily="34" charset="-122"/>
                </a:rPr>
                <a:t>人与人之间</a:t>
              </a:r>
              <a:r>
                <a:rPr lang="zh-CN" altLang="en-US" b="1" dirty="0">
                  <a:solidFill>
                    <a:schemeClr val="bg1"/>
                  </a:solidFill>
                  <a:latin typeface="微软雅黑" panose="020B0503020204020204" pitchFamily="34" charset="-122"/>
                </a:rPr>
                <a:t>综合</a:t>
              </a:r>
              <a:r>
                <a:rPr lang="zh-CN" altLang="en-US" sz="2100" b="1" dirty="0">
                  <a:solidFill>
                    <a:schemeClr val="bg1"/>
                  </a:solidFill>
                  <a:latin typeface="微软雅黑" panose="020B0503020204020204" pitchFamily="34" charset="-122"/>
                </a:rPr>
                <a:t>行为</a:t>
              </a:r>
              <a:r>
                <a:rPr lang="zh-CN" altLang="en-US" b="1" dirty="0">
                  <a:solidFill>
                    <a:schemeClr val="bg1"/>
                  </a:solidFill>
                  <a:latin typeface="微软雅黑" panose="020B0503020204020204" pitchFamily="34" charset="-122"/>
                </a:rPr>
                <a:t>的处置过程</a:t>
              </a:r>
            </a:p>
          </p:txBody>
        </p:sp>
        <p:sp>
          <p:nvSpPr>
            <p:cNvPr id="40965" name="Text Box 7"/>
            <p:cNvSpPr txBox="1">
              <a:spLocks noChangeArrowheads="1"/>
            </p:cNvSpPr>
            <p:nvPr/>
          </p:nvSpPr>
          <p:spPr bwMode="auto">
            <a:xfrm>
              <a:off x="1609" y="804"/>
              <a:ext cx="1247" cy="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eaLnBrk="0" hangingPunct="0"/>
              <a:r>
                <a:rPr lang="zh-CN" altLang="en-US" sz="2000" b="1">
                  <a:solidFill>
                    <a:srgbClr val="000066"/>
                  </a:solidFill>
                  <a:latin typeface="微软雅黑" pitchFamily="34" charset="-122"/>
                </a:rPr>
                <a:t>各专业、各阶段</a:t>
              </a:r>
            </a:p>
            <a:p>
              <a:pPr algn="ctr" eaLnBrk="0" hangingPunct="0"/>
              <a:r>
                <a:rPr lang="zh-CN" altLang="en-US" sz="2000" b="1">
                  <a:solidFill>
                    <a:srgbClr val="000066"/>
                  </a:solidFill>
                  <a:latin typeface="微软雅黑" pitchFamily="34" charset="-122"/>
                </a:rPr>
                <a:t>项目活动</a:t>
              </a:r>
            </a:p>
          </p:txBody>
        </p:sp>
        <p:grpSp>
          <p:nvGrpSpPr>
            <p:cNvPr id="40966" name="Group 8"/>
            <p:cNvGrpSpPr>
              <a:grpSpLocks/>
            </p:cNvGrpSpPr>
            <p:nvPr/>
          </p:nvGrpSpPr>
          <p:grpSpPr bwMode="auto">
            <a:xfrm>
              <a:off x="0" y="1559"/>
              <a:ext cx="937" cy="1225"/>
              <a:chOff x="0" y="0"/>
              <a:chExt cx="995" cy="1304"/>
            </a:xfrm>
          </p:grpSpPr>
          <p:grpSp>
            <p:nvGrpSpPr>
              <p:cNvPr id="40967" name="Group 9"/>
              <p:cNvGrpSpPr>
                <a:grpSpLocks/>
              </p:cNvGrpSpPr>
              <p:nvPr/>
            </p:nvGrpSpPr>
            <p:grpSpPr bwMode="auto">
              <a:xfrm>
                <a:off x="0" y="0"/>
                <a:ext cx="936" cy="954"/>
                <a:chOff x="0" y="0"/>
                <a:chExt cx="1248" cy="1296"/>
              </a:xfrm>
            </p:grpSpPr>
            <p:grpSp>
              <p:nvGrpSpPr>
                <p:cNvPr id="40968" name="Group 10"/>
                <p:cNvGrpSpPr>
                  <a:grpSpLocks/>
                </p:cNvGrpSpPr>
                <p:nvPr/>
              </p:nvGrpSpPr>
              <p:grpSpPr bwMode="auto">
                <a:xfrm>
                  <a:off x="0" y="0"/>
                  <a:ext cx="1248" cy="1296"/>
                  <a:chOff x="0" y="0"/>
                  <a:chExt cx="1680" cy="1680"/>
                </a:xfrm>
              </p:grpSpPr>
              <p:sp>
                <p:nvSpPr>
                  <p:cNvPr id="8203" name="Oval 11"/>
                  <p:cNvSpPr>
                    <a:spLocks noChangeArrowheads="1"/>
                  </p:cNvSpPr>
                  <p:nvPr/>
                </p:nvSpPr>
                <p:spPr bwMode="auto">
                  <a:xfrm>
                    <a:off x="0" y="0"/>
                    <a:ext cx="1674" cy="1680"/>
                  </a:xfrm>
                  <a:prstGeom prst="ellipse">
                    <a:avLst/>
                  </a:prstGeom>
                  <a:gradFill rotWithShape="1">
                    <a:gsLst>
                      <a:gs pos="0">
                        <a:schemeClr val="accent2"/>
                      </a:gs>
                      <a:gs pos="100000">
                        <a:schemeClr val="accent2">
                          <a:gamma/>
                          <a:shade val="63529"/>
                          <a:invGamma/>
                        </a:schemeClr>
                      </a:gs>
                    </a:gsLst>
                    <a:lin ang="540000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auto">
                      <a:spcBef>
                        <a:spcPts val="0"/>
                      </a:spcBef>
                      <a:spcAft>
                        <a:spcPts val="0"/>
                      </a:spcAft>
                      <a:buFontTx/>
                      <a:buNone/>
                      <a:defRPr/>
                    </a:pPr>
                    <a:endParaRPr lang="zh-CN" altLang="en-US">
                      <a:latin typeface="微软雅黑" panose="020B0503020204020204" pitchFamily="34" charset="-122"/>
                    </a:endParaRPr>
                  </a:p>
                </p:txBody>
              </p:sp>
              <p:sp>
                <p:nvSpPr>
                  <p:cNvPr id="40970" name="未知"/>
                  <p:cNvSpPr>
                    <a:spLocks noChangeArrowheads="1"/>
                  </p:cNvSpPr>
                  <p:nvPr/>
                </p:nvSpPr>
                <p:spPr bwMode="auto">
                  <a:xfrm>
                    <a:off x="192" y="28"/>
                    <a:ext cx="1296" cy="634"/>
                  </a:xfrm>
                  <a:custGeom>
                    <a:avLst/>
                    <a:gdLst>
                      <a:gd name="T0" fmla="*/ 1301 w 1321"/>
                      <a:gd name="T1" fmla="*/ 401 h 712"/>
                      <a:gd name="T2" fmla="*/ 1317 w 1321"/>
                      <a:gd name="T3" fmla="*/ 442 h 712"/>
                      <a:gd name="T4" fmla="*/ 1321 w 1321"/>
                      <a:gd name="T5" fmla="*/ 481 h 712"/>
                      <a:gd name="T6" fmla="*/ 1315 w 1321"/>
                      <a:gd name="T7" fmla="*/ 516 h 712"/>
                      <a:gd name="T8" fmla="*/ 1298 w 1321"/>
                      <a:gd name="T9" fmla="*/ 550 h 712"/>
                      <a:gd name="T10" fmla="*/ 1272 w 1321"/>
                      <a:gd name="T11" fmla="*/ 579 h 712"/>
                      <a:gd name="T12" fmla="*/ 1239 w 1321"/>
                      <a:gd name="T13" fmla="*/ 604 h 712"/>
                      <a:gd name="T14" fmla="*/ 1196 w 1321"/>
                      <a:gd name="T15" fmla="*/ 628 h 712"/>
                      <a:gd name="T16" fmla="*/ 1147 w 1321"/>
                      <a:gd name="T17" fmla="*/ 649 h 712"/>
                      <a:gd name="T18" fmla="*/ 1092 w 1321"/>
                      <a:gd name="T19" fmla="*/ 667 h 712"/>
                      <a:gd name="T20" fmla="*/ 1031 w 1321"/>
                      <a:gd name="T21" fmla="*/ 683 h 712"/>
                      <a:gd name="T22" fmla="*/ 967 w 1321"/>
                      <a:gd name="T23" fmla="*/ 694 h 712"/>
                      <a:gd name="T24" fmla="*/ 896 w 1321"/>
                      <a:gd name="T25" fmla="*/ 704 h 712"/>
                      <a:gd name="T26" fmla="*/ 824 w 1321"/>
                      <a:gd name="T27" fmla="*/ 710 h 712"/>
                      <a:gd name="T28" fmla="*/ 795 w 1321"/>
                      <a:gd name="T29" fmla="*/ 712 h 712"/>
                      <a:gd name="T30" fmla="*/ 476 w 1321"/>
                      <a:gd name="T31" fmla="*/ 712 h 712"/>
                      <a:gd name="T32" fmla="*/ 472 w 1321"/>
                      <a:gd name="T33" fmla="*/ 712 h 712"/>
                      <a:gd name="T34" fmla="*/ 409 w 1321"/>
                      <a:gd name="T35" fmla="*/ 708 h 712"/>
                      <a:gd name="T36" fmla="*/ 348 w 1321"/>
                      <a:gd name="T37" fmla="*/ 704 h 712"/>
                      <a:gd name="T38" fmla="*/ 290 w 1321"/>
                      <a:gd name="T39" fmla="*/ 696 h 712"/>
                      <a:gd name="T40" fmla="*/ 235 w 1321"/>
                      <a:gd name="T41" fmla="*/ 689 h 712"/>
                      <a:gd name="T42" fmla="*/ 186 w 1321"/>
                      <a:gd name="T43" fmla="*/ 677 h 712"/>
                      <a:gd name="T44" fmla="*/ 141 w 1321"/>
                      <a:gd name="T45" fmla="*/ 663 h 712"/>
                      <a:gd name="T46" fmla="*/ 102 w 1321"/>
                      <a:gd name="T47" fmla="*/ 648 h 712"/>
                      <a:gd name="T48" fmla="*/ 67 w 1321"/>
                      <a:gd name="T49" fmla="*/ 630 h 712"/>
                      <a:gd name="T50" fmla="*/ 39 w 1321"/>
                      <a:gd name="T51" fmla="*/ 608 h 712"/>
                      <a:gd name="T52" fmla="*/ 18 w 1321"/>
                      <a:gd name="T53" fmla="*/ 583 h 712"/>
                      <a:gd name="T54" fmla="*/ 6 w 1321"/>
                      <a:gd name="T55" fmla="*/ 554 h 712"/>
                      <a:gd name="T56" fmla="*/ 0 w 1321"/>
                      <a:gd name="T57" fmla="*/ 524 h 712"/>
                      <a:gd name="T58" fmla="*/ 0 w 1321"/>
                      <a:gd name="T59" fmla="*/ 520 h 712"/>
                      <a:gd name="T60" fmla="*/ 4 w 1321"/>
                      <a:gd name="T61" fmla="*/ 487 h 712"/>
                      <a:gd name="T62" fmla="*/ 16 w 1321"/>
                      <a:gd name="T63" fmla="*/ 446 h 712"/>
                      <a:gd name="T64" fmla="*/ 51 w 1321"/>
                      <a:gd name="T65" fmla="*/ 370 h 712"/>
                      <a:gd name="T66" fmla="*/ 94 w 1321"/>
                      <a:gd name="T67" fmla="*/ 299 h 712"/>
                      <a:gd name="T68" fmla="*/ 147 w 1321"/>
                      <a:gd name="T69" fmla="*/ 235 h 712"/>
                      <a:gd name="T70" fmla="*/ 204 w 1321"/>
                      <a:gd name="T71" fmla="*/ 176 h 712"/>
                      <a:gd name="T72" fmla="*/ 270 w 1321"/>
                      <a:gd name="T73" fmla="*/ 125 h 712"/>
                      <a:gd name="T74" fmla="*/ 341 w 1321"/>
                      <a:gd name="T75" fmla="*/ 82 h 712"/>
                      <a:gd name="T76" fmla="*/ 415 w 1321"/>
                      <a:gd name="T77" fmla="*/ 47 h 712"/>
                      <a:gd name="T78" fmla="*/ 497 w 1321"/>
                      <a:gd name="T79" fmla="*/ 21 h 712"/>
                      <a:gd name="T80" fmla="*/ 581 w 1321"/>
                      <a:gd name="T81" fmla="*/ 6 h 712"/>
                      <a:gd name="T82" fmla="*/ 667 w 1321"/>
                      <a:gd name="T83" fmla="*/ 0 h 712"/>
                      <a:gd name="T84" fmla="*/ 759 w 1321"/>
                      <a:gd name="T85" fmla="*/ 6 h 712"/>
                      <a:gd name="T86" fmla="*/ 847 w 1321"/>
                      <a:gd name="T87" fmla="*/ 23 h 712"/>
                      <a:gd name="T88" fmla="*/ 932 w 1321"/>
                      <a:gd name="T89" fmla="*/ 53 h 712"/>
                      <a:gd name="T90" fmla="*/ 1010 w 1321"/>
                      <a:gd name="T91" fmla="*/ 90 h 712"/>
                      <a:gd name="T92" fmla="*/ 1082 w 1321"/>
                      <a:gd name="T93" fmla="*/ 137 h 712"/>
                      <a:gd name="T94" fmla="*/ 1149 w 1321"/>
                      <a:gd name="T95" fmla="*/ 194 h 712"/>
                      <a:gd name="T96" fmla="*/ 1208 w 1321"/>
                      <a:gd name="T97" fmla="*/ 256 h 712"/>
                      <a:gd name="T98" fmla="*/ 1258 w 1321"/>
                      <a:gd name="T99" fmla="*/ 325 h 712"/>
                      <a:gd name="T100" fmla="*/ 1301 w 1321"/>
                      <a:gd name="T101" fmla="*/ 401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chemeClr val="accent2"/>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endParaRPr lang="zh-CN" altLang="en-US"/>
                  </a:p>
                </p:txBody>
              </p:sp>
            </p:grpSp>
            <p:sp>
              <p:nvSpPr>
                <p:cNvPr id="40971" name="Text Box 13"/>
                <p:cNvSpPr txBox="1">
                  <a:spLocks noChangeArrowheads="1"/>
                </p:cNvSpPr>
                <p:nvPr/>
              </p:nvSpPr>
              <p:spPr bwMode="auto">
                <a:xfrm>
                  <a:off x="82" y="573"/>
                  <a:ext cx="1080" cy="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eaLnBrk="0" hangingPunct="0"/>
                  <a:r>
                    <a:rPr lang="zh-CN" altLang="en-US" sz="2000" b="1" i="1">
                      <a:solidFill>
                        <a:srgbClr val="FFFFFF"/>
                      </a:solidFill>
                      <a:latin typeface="微软雅黑" pitchFamily="34" charset="-122"/>
                    </a:rPr>
                    <a:t>任务范围</a:t>
                  </a:r>
                </a:p>
              </p:txBody>
            </p:sp>
          </p:grpSp>
          <p:sp>
            <p:nvSpPr>
              <p:cNvPr id="40972" name="Oval 14"/>
              <p:cNvSpPr>
                <a:spLocks noChangeArrowheads="1"/>
              </p:cNvSpPr>
              <p:nvPr/>
            </p:nvSpPr>
            <p:spPr bwMode="auto">
              <a:xfrm>
                <a:off x="0" y="1028"/>
                <a:ext cx="995" cy="276"/>
              </a:xfrm>
              <a:prstGeom prst="ellipse">
                <a:avLst/>
              </a:prstGeom>
              <a:gradFill rotWithShape="1">
                <a:gsLst>
                  <a:gs pos="0">
                    <a:schemeClr val="bg2"/>
                  </a:gs>
                  <a:gs pos="100000">
                    <a:schemeClr val="bg1"/>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endParaRPr lang="zh-CN" altLang="zh-CN">
                  <a:latin typeface="微软雅黑" pitchFamily="34" charset="-122"/>
                </a:endParaRPr>
              </a:p>
            </p:txBody>
          </p:sp>
        </p:grpSp>
        <p:grpSp>
          <p:nvGrpSpPr>
            <p:cNvPr id="40973" name="Group 15"/>
            <p:cNvGrpSpPr>
              <a:grpSpLocks/>
            </p:cNvGrpSpPr>
            <p:nvPr/>
          </p:nvGrpSpPr>
          <p:grpSpPr bwMode="auto">
            <a:xfrm>
              <a:off x="1130" y="1559"/>
              <a:ext cx="959" cy="1225"/>
              <a:chOff x="0" y="0"/>
              <a:chExt cx="1019" cy="1304"/>
            </a:xfrm>
          </p:grpSpPr>
          <p:grpSp>
            <p:nvGrpSpPr>
              <p:cNvPr id="40974" name="Group 16"/>
              <p:cNvGrpSpPr>
                <a:grpSpLocks/>
              </p:cNvGrpSpPr>
              <p:nvPr/>
            </p:nvGrpSpPr>
            <p:grpSpPr bwMode="auto">
              <a:xfrm>
                <a:off x="0" y="0"/>
                <a:ext cx="960" cy="958"/>
                <a:chOff x="0" y="0"/>
                <a:chExt cx="1680" cy="1680"/>
              </a:xfrm>
            </p:grpSpPr>
            <p:sp>
              <p:nvSpPr>
                <p:cNvPr id="8209" name="Oval 17"/>
                <p:cNvSpPr>
                  <a:spLocks noChangeArrowheads="1"/>
                </p:cNvSpPr>
                <p:nvPr/>
              </p:nvSpPr>
              <p:spPr bwMode="auto">
                <a:xfrm>
                  <a:off x="-1" y="0"/>
                  <a:ext cx="1675" cy="1679"/>
                </a:xfrm>
                <a:prstGeom prst="ellipse">
                  <a:avLst/>
                </a:prstGeom>
                <a:gradFill rotWithShape="1">
                  <a:gsLst>
                    <a:gs pos="0">
                      <a:schemeClr val="hlink"/>
                    </a:gs>
                    <a:gs pos="100000">
                      <a:schemeClr val="hlink">
                        <a:gamma/>
                        <a:shade val="51373"/>
                        <a:invGamma/>
                      </a:schemeClr>
                    </a:gs>
                  </a:gsLst>
                  <a:lin ang="540000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sy="50000" kx="-2453608" rotWithShape="0">
                          <a:schemeClr val="bg2">
                            <a:alpha val="50000"/>
                          </a:schemeClr>
                        </a:outerShdw>
                      </a:effectLst>
                    </a14:hiddenEffects>
                  </a:ext>
                </a:extLst>
              </p:spPr>
              <p:txBody>
                <a:bodyPr wrap="none" anchor="ctr"/>
                <a:lstStyle/>
                <a:p>
                  <a:pPr fontAlgn="auto">
                    <a:spcBef>
                      <a:spcPts val="0"/>
                    </a:spcBef>
                    <a:spcAft>
                      <a:spcPts val="0"/>
                    </a:spcAft>
                    <a:buFontTx/>
                    <a:buNone/>
                    <a:defRPr/>
                  </a:pPr>
                  <a:endParaRPr lang="zh-CN" altLang="en-US">
                    <a:latin typeface="微软雅黑" panose="020B0503020204020204" pitchFamily="34" charset="-122"/>
                  </a:endParaRPr>
                </a:p>
              </p:txBody>
            </p:sp>
            <p:sp>
              <p:nvSpPr>
                <p:cNvPr id="8210" name="未知"/>
                <p:cNvSpPr/>
                <p:nvPr/>
              </p:nvSpPr>
              <p:spPr bwMode="auto">
                <a:xfrm>
                  <a:off x="191" y="28"/>
                  <a:ext cx="1295" cy="635"/>
                </a:xfrm>
                <a:custGeom>
                  <a:avLst/>
                  <a:gdLst>
                    <a:gd name="T0" fmla="*/ 1301 w 1321"/>
                    <a:gd name="T1" fmla="*/ 401 h 712"/>
                    <a:gd name="T2" fmla="*/ 1317 w 1321"/>
                    <a:gd name="T3" fmla="*/ 442 h 712"/>
                    <a:gd name="T4" fmla="*/ 1321 w 1321"/>
                    <a:gd name="T5" fmla="*/ 481 h 712"/>
                    <a:gd name="T6" fmla="*/ 1315 w 1321"/>
                    <a:gd name="T7" fmla="*/ 516 h 712"/>
                    <a:gd name="T8" fmla="*/ 1298 w 1321"/>
                    <a:gd name="T9" fmla="*/ 550 h 712"/>
                    <a:gd name="T10" fmla="*/ 1272 w 1321"/>
                    <a:gd name="T11" fmla="*/ 579 h 712"/>
                    <a:gd name="T12" fmla="*/ 1239 w 1321"/>
                    <a:gd name="T13" fmla="*/ 604 h 712"/>
                    <a:gd name="T14" fmla="*/ 1196 w 1321"/>
                    <a:gd name="T15" fmla="*/ 628 h 712"/>
                    <a:gd name="T16" fmla="*/ 1147 w 1321"/>
                    <a:gd name="T17" fmla="*/ 649 h 712"/>
                    <a:gd name="T18" fmla="*/ 1092 w 1321"/>
                    <a:gd name="T19" fmla="*/ 667 h 712"/>
                    <a:gd name="T20" fmla="*/ 1031 w 1321"/>
                    <a:gd name="T21" fmla="*/ 683 h 712"/>
                    <a:gd name="T22" fmla="*/ 967 w 1321"/>
                    <a:gd name="T23" fmla="*/ 694 h 712"/>
                    <a:gd name="T24" fmla="*/ 896 w 1321"/>
                    <a:gd name="T25" fmla="*/ 704 h 712"/>
                    <a:gd name="T26" fmla="*/ 824 w 1321"/>
                    <a:gd name="T27" fmla="*/ 710 h 712"/>
                    <a:gd name="T28" fmla="*/ 795 w 1321"/>
                    <a:gd name="T29" fmla="*/ 712 h 712"/>
                    <a:gd name="T30" fmla="*/ 476 w 1321"/>
                    <a:gd name="T31" fmla="*/ 712 h 712"/>
                    <a:gd name="T32" fmla="*/ 472 w 1321"/>
                    <a:gd name="T33" fmla="*/ 712 h 712"/>
                    <a:gd name="T34" fmla="*/ 409 w 1321"/>
                    <a:gd name="T35" fmla="*/ 708 h 712"/>
                    <a:gd name="T36" fmla="*/ 348 w 1321"/>
                    <a:gd name="T37" fmla="*/ 704 h 712"/>
                    <a:gd name="T38" fmla="*/ 290 w 1321"/>
                    <a:gd name="T39" fmla="*/ 696 h 712"/>
                    <a:gd name="T40" fmla="*/ 235 w 1321"/>
                    <a:gd name="T41" fmla="*/ 689 h 712"/>
                    <a:gd name="T42" fmla="*/ 186 w 1321"/>
                    <a:gd name="T43" fmla="*/ 677 h 712"/>
                    <a:gd name="T44" fmla="*/ 141 w 1321"/>
                    <a:gd name="T45" fmla="*/ 663 h 712"/>
                    <a:gd name="T46" fmla="*/ 102 w 1321"/>
                    <a:gd name="T47" fmla="*/ 648 h 712"/>
                    <a:gd name="T48" fmla="*/ 67 w 1321"/>
                    <a:gd name="T49" fmla="*/ 630 h 712"/>
                    <a:gd name="T50" fmla="*/ 39 w 1321"/>
                    <a:gd name="T51" fmla="*/ 608 h 712"/>
                    <a:gd name="T52" fmla="*/ 18 w 1321"/>
                    <a:gd name="T53" fmla="*/ 583 h 712"/>
                    <a:gd name="T54" fmla="*/ 6 w 1321"/>
                    <a:gd name="T55" fmla="*/ 554 h 712"/>
                    <a:gd name="T56" fmla="*/ 0 w 1321"/>
                    <a:gd name="T57" fmla="*/ 524 h 712"/>
                    <a:gd name="T58" fmla="*/ 0 w 1321"/>
                    <a:gd name="T59" fmla="*/ 520 h 712"/>
                    <a:gd name="T60" fmla="*/ 4 w 1321"/>
                    <a:gd name="T61" fmla="*/ 487 h 712"/>
                    <a:gd name="T62" fmla="*/ 16 w 1321"/>
                    <a:gd name="T63" fmla="*/ 446 h 712"/>
                    <a:gd name="T64" fmla="*/ 51 w 1321"/>
                    <a:gd name="T65" fmla="*/ 370 h 712"/>
                    <a:gd name="T66" fmla="*/ 94 w 1321"/>
                    <a:gd name="T67" fmla="*/ 299 h 712"/>
                    <a:gd name="T68" fmla="*/ 147 w 1321"/>
                    <a:gd name="T69" fmla="*/ 235 h 712"/>
                    <a:gd name="T70" fmla="*/ 204 w 1321"/>
                    <a:gd name="T71" fmla="*/ 176 h 712"/>
                    <a:gd name="T72" fmla="*/ 270 w 1321"/>
                    <a:gd name="T73" fmla="*/ 125 h 712"/>
                    <a:gd name="T74" fmla="*/ 341 w 1321"/>
                    <a:gd name="T75" fmla="*/ 82 h 712"/>
                    <a:gd name="T76" fmla="*/ 415 w 1321"/>
                    <a:gd name="T77" fmla="*/ 47 h 712"/>
                    <a:gd name="T78" fmla="*/ 497 w 1321"/>
                    <a:gd name="T79" fmla="*/ 21 h 712"/>
                    <a:gd name="T80" fmla="*/ 581 w 1321"/>
                    <a:gd name="T81" fmla="*/ 6 h 712"/>
                    <a:gd name="T82" fmla="*/ 667 w 1321"/>
                    <a:gd name="T83" fmla="*/ 0 h 712"/>
                    <a:gd name="T84" fmla="*/ 667 w 1321"/>
                    <a:gd name="T85" fmla="*/ 0 h 712"/>
                    <a:gd name="T86" fmla="*/ 759 w 1321"/>
                    <a:gd name="T87" fmla="*/ 6 h 712"/>
                    <a:gd name="T88" fmla="*/ 847 w 1321"/>
                    <a:gd name="T89" fmla="*/ 23 h 712"/>
                    <a:gd name="T90" fmla="*/ 932 w 1321"/>
                    <a:gd name="T91" fmla="*/ 53 h 712"/>
                    <a:gd name="T92" fmla="*/ 1010 w 1321"/>
                    <a:gd name="T93" fmla="*/ 90 h 712"/>
                    <a:gd name="T94" fmla="*/ 1082 w 1321"/>
                    <a:gd name="T95" fmla="*/ 137 h 712"/>
                    <a:gd name="T96" fmla="*/ 1149 w 1321"/>
                    <a:gd name="T97" fmla="*/ 194 h 712"/>
                    <a:gd name="T98" fmla="*/ 1208 w 1321"/>
                    <a:gd name="T99" fmla="*/ 256 h 712"/>
                    <a:gd name="T100" fmla="*/ 1258 w 1321"/>
                    <a:gd name="T101" fmla="*/ 325 h 712"/>
                    <a:gd name="T102" fmla="*/ 1301 w 1321"/>
                    <a:gd name="T103" fmla="*/ 401 h 712"/>
                    <a:gd name="T104" fmla="*/ 1301 w 1321"/>
                    <a:gd name="T105" fmla="*/ 401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667" y="0"/>
                      </a:lnTo>
                      <a:lnTo>
                        <a:pt x="759" y="6"/>
                      </a:lnTo>
                      <a:lnTo>
                        <a:pt x="847" y="23"/>
                      </a:lnTo>
                      <a:lnTo>
                        <a:pt x="932" y="53"/>
                      </a:lnTo>
                      <a:lnTo>
                        <a:pt x="1010" y="90"/>
                      </a:lnTo>
                      <a:lnTo>
                        <a:pt x="1082" y="137"/>
                      </a:lnTo>
                      <a:lnTo>
                        <a:pt x="1149" y="194"/>
                      </a:lnTo>
                      <a:lnTo>
                        <a:pt x="1208" y="256"/>
                      </a:lnTo>
                      <a:lnTo>
                        <a:pt x="1258" y="325"/>
                      </a:lnTo>
                      <a:lnTo>
                        <a:pt x="1301" y="401"/>
                      </a:lnTo>
                      <a:lnTo>
                        <a:pt x="1301" y="401"/>
                      </a:lnTo>
                      <a:close/>
                    </a:path>
                  </a:pathLst>
                </a:custGeom>
                <a:gradFill rotWithShape="1">
                  <a:gsLst>
                    <a:gs pos="0">
                      <a:schemeClr val="hlink">
                        <a:gamma/>
                        <a:tint val="0"/>
                        <a:invGamma/>
                      </a:schemeClr>
                    </a:gs>
                    <a:gs pos="100000">
                      <a:schemeClr val="hlink"/>
                    </a:gs>
                  </a:gsLst>
                  <a:lin ang="540000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fontAlgn="auto">
                    <a:spcBef>
                      <a:spcPts val="0"/>
                    </a:spcBef>
                    <a:spcAft>
                      <a:spcPts val="0"/>
                    </a:spcAft>
                    <a:buFontTx/>
                    <a:buNone/>
                    <a:defRPr/>
                  </a:pPr>
                  <a:endParaRPr lang="zh-CN" altLang="en-US">
                    <a:latin typeface="微软雅黑" panose="020B0503020204020204" pitchFamily="34" charset="-122"/>
                  </a:endParaRPr>
                </a:p>
              </p:txBody>
            </p:sp>
          </p:grpSp>
          <p:sp>
            <p:nvSpPr>
              <p:cNvPr id="40977" name="Text Box 19"/>
              <p:cNvSpPr txBox="1">
                <a:spLocks noChangeArrowheads="1"/>
              </p:cNvSpPr>
              <p:nvPr/>
            </p:nvSpPr>
            <p:spPr bwMode="auto">
              <a:xfrm>
                <a:off x="48" y="422"/>
                <a:ext cx="864" cy="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eaLnBrk="0" hangingPunct="0"/>
                <a:r>
                  <a:rPr lang="zh-CN" altLang="en-US" sz="2000" b="1" i="1">
                    <a:solidFill>
                      <a:srgbClr val="FFFFFF"/>
                    </a:solidFill>
                    <a:latin typeface="微软雅黑" pitchFamily="34" charset="-122"/>
                  </a:rPr>
                  <a:t>工作边界</a:t>
                </a:r>
              </a:p>
            </p:txBody>
          </p:sp>
          <p:sp>
            <p:nvSpPr>
              <p:cNvPr id="40978" name="Oval 20"/>
              <p:cNvSpPr>
                <a:spLocks noChangeArrowheads="1"/>
              </p:cNvSpPr>
              <p:nvPr/>
            </p:nvSpPr>
            <p:spPr bwMode="auto">
              <a:xfrm>
                <a:off x="24" y="1028"/>
                <a:ext cx="995" cy="276"/>
              </a:xfrm>
              <a:prstGeom prst="ellipse">
                <a:avLst/>
              </a:prstGeom>
              <a:gradFill rotWithShape="1">
                <a:gsLst>
                  <a:gs pos="0">
                    <a:schemeClr val="bg2"/>
                  </a:gs>
                  <a:gs pos="100000">
                    <a:schemeClr val="bg1"/>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endParaRPr lang="zh-CN" altLang="zh-CN">
                  <a:latin typeface="微软雅黑" pitchFamily="34" charset="-122"/>
                </a:endParaRPr>
              </a:p>
            </p:txBody>
          </p:sp>
        </p:grpSp>
        <p:grpSp>
          <p:nvGrpSpPr>
            <p:cNvPr id="40979" name="Group 21"/>
            <p:cNvGrpSpPr>
              <a:grpSpLocks/>
            </p:cNvGrpSpPr>
            <p:nvPr/>
          </p:nvGrpSpPr>
          <p:grpSpPr bwMode="auto">
            <a:xfrm>
              <a:off x="2350" y="1533"/>
              <a:ext cx="967" cy="1251"/>
              <a:chOff x="0" y="0"/>
              <a:chExt cx="1028" cy="1332"/>
            </a:xfrm>
          </p:grpSpPr>
          <p:grpSp>
            <p:nvGrpSpPr>
              <p:cNvPr id="40980" name="Group 22"/>
              <p:cNvGrpSpPr>
                <a:grpSpLocks/>
              </p:cNvGrpSpPr>
              <p:nvPr/>
            </p:nvGrpSpPr>
            <p:grpSpPr bwMode="auto">
              <a:xfrm>
                <a:off x="0" y="0"/>
                <a:ext cx="960" cy="958"/>
                <a:chOff x="0" y="0"/>
                <a:chExt cx="1680" cy="1680"/>
              </a:xfrm>
            </p:grpSpPr>
            <p:sp>
              <p:nvSpPr>
                <p:cNvPr id="8215" name="Oval 23"/>
                <p:cNvSpPr>
                  <a:spLocks noChangeArrowheads="1"/>
                </p:cNvSpPr>
                <p:nvPr/>
              </p:nvSpPr>
              <p:spPr bwMode="auto">
                <a:xfrm>
                  <a:off x="0" y="-1"/>
                  <a:ext cx="1680" cy="1680"/>
                </a:xfrm>
                <a:prstGeom prst="ellipse">
                  <a:avLst/>
                </a:prstGeom>
                <a:gradFill rotWithShape="1">
                  <a:gsLst>
                    <a:gs pos="0">
                      <a:schemeClr val="accent1"/>
                    </a:gs>
                    <a:gs pos="100000">
                      <a:schemeClr val="accent1">
                        <a:gamma/>
                        <a:shade val="51373"/>
                        <a:invGamma/>
                      </a:schemeClr>
                    </a:gs>
                  </a:gsLst>
                  <a:lin ang="540000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sy="50000" kx="-2453608" rotWithShape="0">
                          <a:schemeClr val="bg2">
                            <a:alpha val="50000"/>
                          </a:schemeClr>
                        </a:outerShdw>
                      </a:effectLst>
                    </a14:hiddenEffects>
                  </a:ext>
                </a:extLst>
              </p:spPr>
              <p:txBody>
                <a:bodyPr wrap="none" anchor="ctr"/>
                <a:lstStyle/>
                <a:p>
                  <a:pPr fontAlgn="auto">
                    <a:spcBef>
                      <a:spcPts val="0"/>
                    </a:spcBef>
                    <a:spcAft>
                      <a:spcPts val="0"/>
                    </a:spcAft>
                    <a:buFontTx/>
                    <a:buNone/>
                    <a:defRPr/>
                  </a:pPr>
                  <a:endParaRPr lang="zh-CN" altLang="en-US">
                    <a:latin typeface="微软雅黑" panose="020B0503020204020204" pitchFamily="34" charset="-122"/>
                  </a:endParaRPr>
                </a:p>
              </p:txBody>
            </p:sp>
            <p:sp>
              <p:nvSpPr>
                <p:cNvPr id="8216" name="未知"/>
                <p:cNvSpPr/>
                <p:nvPr/>
              </p:nvSpPr>
              <p:spPr bwMode="auto">
                <a:xfrm>
                  <a:off x="192" y="27"/>
                  <a:ext cx="1296" cy="635"/>
                </a:xfrm>
                <a:custGeom>
                  <a:avLst/>
                  <a:gdLst>
                    <a:gd name="T0" fmla="*/ 1301 w 1321"/>
                    <a:gd name="T1" fmla="*/ 401 h 712"/>
                    <a:gd name="T2" fmla="*/ 1317 w 1321"/>
                    <a:gd name="T3" fmla="*/ 442 h 712"/>
                    <a:gd name="T4" fmla="*/ 1321 w 1321"/>
                    <a:gd name="T5" fmla="*/ 481 h 712"/>
                    <a:gd name="T6" fmla="*/ 1315 w 1321"/>
                    <a:gd name="T7" fmla="*/ 516 h 712"/>
                    <a:gd name="T8" fmla="*/ 1298 w 1321"/>
                    <a:gd name="T9" fmla="*/ 550 h 712"/>
                    <a:gd name="T10" fmla="*/ 1272 w 1321"/>
                    <a:gd name="T11" fmla="*/ 579 h 712"/>
                    <a:gd name="T12" fmla="*/ 1239 w 1321"/>
                    <a:gd name="T13" fmla="*/ 604 h 712"/>
                    <a:gd name="T14" fmla="*/ 1196 w 1321"/>
                    <a:gd name="T15" fmla="*/ 628 h 712"/>
                    <a:gd name="T16" fmla="*/ 1147 w 1321"/>
                    <a:gd name="T17" fmla="*/ 649 h 712"/>
                    <a:gd name="T18" fmla="*/ 1092 w 1321"/>
                    <a:gd name="T19" fmla="*/ 667 h 712"/>
                    <a:gd name="T20" fmla="*/ 1031 w 1321"/>
                    <a:gd name="T21" fmla="*/ 683 h 712"/>
                    <a:gd name="T22" fmla="*/ 967 w 1321"/>
                    <a:gd name="T23" fmla="*/ 694 h 712"/>
                    <a:gd name="T24" fmla="*/ 896 w 1321"/>
                    <a:gd name="T25" fmla="*/ 704 h 712"/>
                    <a:gd name="T26" fmla="*/ 824 w 1321"/>
                    <a:gd name="T27" fmla="*/ 710 h 712"/>
                    <a:gd name="T28" fmla="*/ 795 w 1321"/>
                    <a:gd name="T29" fmla="*/ 712 h 712"/>
                    <a:gd name="T30" fmla="*/ 476 w 1321"/>
                    <a:gd name="T31" fmla="*/ 712 h 712"/>
                    <a:gd name="T32" fmla="*/ 472 w 1321"/>
                    <a:gd name="T33" fmla="*/ 712 h 712"/>
                    <a:gd name="T34" fmla="*/ 409 w 1321"/>
                    <a:gd name="T35" fmla="*/ 708 h 712"/>
                    <a:gd name="T36" fmla="*/ 348 w 1321"/>
                    <a:gd name="T37" fmla="*/ 704 h 712"/>
                    <a:gd name="T38" fmla="*/ 290 w 1321"/>
                    <a:gd name="T39" fmla="*/ 696 h 712"/>
                    <a:gd name="T40" fmla="*/ 235 w 1321"/>
                    <a:gd name="T41" fmla="*/ 689 h 712"/>
                    <a:gd name="T42" fmla="*/ 186 w 1321"/>
                    <a:gd name="T43" fmla="*/ 677 h 712"/>
                    <a:gd name="T44" fmla="*/ 141 w 1321"/>
                    <a:gd name="T45" fmla="*/ 663 h 712"/>
                    <a:gd name="T46" fmla="*/ 102 w 1321"/>
                    <a:gd name="T47" fmla="*/ 648 h 712"/>
                    <a:gd name="T48" fmla="*/ 67 w 1321"/>
                    <a:gd name="T49" fmla="*/ 630 h 712"/>
                    <a:gd name="T50" fmla="*/ 39 w 1321"/>
                    <a:gd name="T51" fmla="*/ 608 h 712"/>
                    <a:gd name="T52" fmla="*/ 18 w 1321"/>
                    <a:gd name="T53" fmla="*/ 583 h 712"/>
                    <a:gd name="T54" fmla="*/ 6 w 1321"/>
                    <a:gd name="T55" fmla="*/ 554 h 712"/>
                    <a:gd name="T56" fmla="*/ 0 w 1321"/>
                    <a:gd name="T57" fmla="*/ 524 h 712"/>
                    <a:gd name="T58" fmla="*/ 0 w 1321"/>
                    <a:gd name="T59" fmla="*/ 520 h 712"/>
                    <a:gd name="T60" fmla="*/ 4 w 1321"/>
                    <a:gd name="T61" fmla="*/ 487 h 712"/>
                    <a:gd name="T62" fmla="*/ 16 w 1321"/>
                    <a:gd name="T63" fmla="*/ 446 h 712"/>
                    <a:gd name="T64" fmla="*/ 51 w 1321"/>
                    <a:gd name="T65" fmla="*/ 370 h 712"/>
                    <a:gd name="T66" fmla="*/ 94 w 1321"/>
                    <a:gd name="T67" fmla="*/ 299 h 712"/>
                    <a:gd name="T68" fmla="*/ 147 w 1321"/>
                    <a:gd name="T69" fmla="*/ 235 h 712"/>
                    <a:gd name="T70" fmla="*/ 204 w 1321"/>
                    <a:gd name="T71" fmla="*/ 176 h 712"/>
                    <a:gd name="T72" fmla="*/ 270 w 1321"/>
                    <a:gd name="T73" fmla="*/ 125 h 712"/>
                    <a:gd name="T74" fmla="*/ 341 w 1321"/>
                    <a:gd name="T75" fmla="*/ 82 h 712"/>
                    <a:gd name="T76" fmla="*/ 415 w 1321"/>
                    <a:gd name="T77" fmla="*/ 47 h 712"/>
                    <a:gd name="T78" fmla="*/ 497 w 1321"/>
                    <a:gd name="T79" fmla="*/ 21 h 712"/>
                    <a:gd name="T80" fmla="*/ 581 w 1321"/>
                    <a:gd name="T81" fmla="*/ 6 h 712"/>
                    <a:gd name="T82" fmla="*/ 667 w 1321"/>
                    <a:gd name="T83" fmla="*/ 0 h 712"/>
                    <a:gd name="T84" fmla="*/ 667 w 1321"/>
                    <a:gd name="T85" fmla="*/ 0 h 712"/>
                    <a:gd name="T86" fmla="*/ 759 w 1321"/>
                    <a:gd name="T87" fmla="*/ 6 h 712"/>
                    <a:gd name="T88" fmla="*/ 847 w 1321"/>
                    <a:gd name="T89" fmla="*/ 23 h 712"/>
                    <a:gd name="T90" fmla="*/ 932 w 1321"/>
                    <a:gd name="T91" fmla="*/ 53 h 712"/>
                    <a:gd name="T92" fmla="*/ 1010 w 1321"/>
                    <a:gd name="T93" fmla="*/ 90 h 712"/>
                    <a:gd name="T94" fmla="*/ 1082 w 1321"/>
                    <a:gd name="T95" fmla="*/ 137 h 712"/>
                    <a:gd name="T96" fmla="*/ 1149 w 1321"/>
                    <a:gd name="T97" fmla="*/ 194 h 712"/>
                    <a:gd name="T98" fmla="*/ 1208 w 1321"/>
                    <a:gd name="T99" fmla="*/ 256 h 712"/>
                    <a:gd name="T100" fmla="*/ 1258 w 1321"/>
                    <a:gd name="T101" fmla="*/ 325 h 712"/>
                    <a:gd name="T102" fmla="*/ 1301 w 1321"/>
                    <a:gd name="T103" fmla="*/ 401 h 712"/>
                    <a:gd name="T104" fmla="*/ 1301 w 1321"/>
                    <a:gd name="T105" fmla="*/ 401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667" y="0"/>
                      </a:lnTo>
                      <a:lnTo>
                        <a:pt x="759" y="6"/>
                      </a:lnTo>
                      <a:lnTo>
                        <a:pt x="847" y="23"/>
                      </a:lnTo>
                      <a:lnTo>
                        <a:pt x="932" y="53"/>
                      </a:lnTo>
                      <a:lnTo>
                        <a:pt x="1010" y="90"/>
                      </a:lnTo>
                      <a:lnTo>
                        <a:pt x="1082" y="137"/>
                      </a:lnTo>
                      <a:lnTo>
                        <a:pt x="1149" y="194"/>
                      </a:lnTo>
                      <a:lnTo>
                        <a:pt x="1208" y="256"/>
                      </a:lnTo>
                      <a:lnTo>
                        <a:pt x="1258" y="325"/>
                      </a:lnTo>
                      <a:lnTo>
                        <a:pt x="1301" y="401"/>
                      </a:lnTo>
                      <a:lnTo>
                        <a:pt x="1301" y="401"/>
                      </a:lnTo>
                      <a:close/>
                    </a:path>
                  </a:pathLst>
                </a:custGeom>
                <a:gradFill rotWithShape="1">
                  <a:gsLst>
                    <a:gs pos="0">
                      <a:schemeClr val="accent1">
                        <a:gamma/>
                        <a:tint val="0"/>
                        <a:invGamma/>
                      </a:schemeClr>
                    </a:gs>
                    <a:gs pos="100000">
                      <a:schemeClr val="accent1"/>
                    </a:gs>
                  </a:gsLst>
                  <a:lin ang="540000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fontAlgn="auto">
                    <a:spcBef>
                      <a:spcPts val="0"/>
                    </a:spcBef>
                    <a:spcAft>
                      <a:spcPts val="0"/>
                    </a:spcAft>
                    <a:buFontTx/>
                    <a:buNone/>
                    <a:defRPr/>
                  </a:pPr>
                  <a:endParaRPr lang="zh-CN" altLang="en-US">
                    <a:latin typeface="微软雅黑" panose="020B0503020204020204" pitchFamily="34" charset="-122"/>
                  </a:endParaRPr>
                </a:p>
              </p:txBody>
            </p:sp>
          </p:grpSp>
          <p:sp>
            <p:nvSpPr>
              <p:cNvPr id="40983" name="Text Box 25"/>
              <p:cNvSpPr txBox="1">
                <a:spLocks noChangeArrowheads="1"/>
              </p:cNvSpPr>
              <p:nvPr/>
            </p:nvSpPr>
            <p:spPr bwMode="auto">
              <a:xfrm>
                <a:off x="48" y="450"/>
                <a:ext cx="864" cy="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eaLnBrk="0" hangingPunct="0"/>
                <a:r>
                  <a:rPr lang="zh-CN" altLang="en-US" sz="2000" b="1" i="1">
                    <a:solidFill>
                      <a:srgbClr val="FFFFFF"/>
                    </a:solidFill>
                    <a:latin typeface="微软雅黑" pitchFamily="34" charset="-122"/>
                  </a:rPr>
                  <a:t>组织关系</a:t>
                </a:r>
              </a:p>
            </p:txBody>
          </p:sp>
          <p:sp>
            <p:nvSpPr>
              <p:cNvPr id="40984" name="Oval 26"/>
              <p:cNvSpPr>
                <a:spLocks noChangeArrowheads="1"/>
              </p:cNvSpPr>
              <p:nvPr/>
            </p:nvSpPr>
            <p:spPr bwMode="auto">
              <a:xfrm>
                <a:off x="33" y="1056"/>
                <a:ext cx="995" cy="276"/>
              </a:xfrm>
              <a:prstGeom prst="ellipse">
                <a:avLst/>
              </a:prstGeom>
              <a:gradFill rotWithShape="1">
                <a:gsLst>
                  <a:gs pos="0">
                    <a:schemeClr val="bg2"/>
                  </a:gs>
                  <a:gs pos="100000">
                    <a:schemeClr val="bg1"/>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endParaRPr lang="zh-CN" altLang="zh-CN">
                  <a:latin typeface="微软雅黑" pitchFamily="34" charset="-122"/>
                </a:endParaRPr>
              </a:p>
            </p:txBody>
          </p:sp>
        </p:grpSp>
        <p:grpSp>
          <p:nvGrpSpPr>
            <p:cNvPr id="40985" name="Group 27"/>
            <p:cNvGrpSpPr>
              <a:grpSpLocks/>
            </p:cNvGrpSpPr>
            <p:nvPr/>
          </p:nvGrpSpPr>
          <p:grpSpPr bwMode="auto">
            <a:xfrm>
              <a:off x="3479" y="1533"/>
              <a:ext cx="937" cy="1251"/>
              <a:chOff x="0" y="0"/>
              <a:chExt cx="995" cy="1332"/>
            </a:xfrm>
          </p:grpSpPr>
          <p:grpSp>
            <p:nvGrpSpPr>
              <p:cNvPr id="40986" name="Group 28"/>
              <p:cNvGrpSpPr>
                <a:grpSpLocks/>
              </p:cNvGrpSpPr>
              <p:nvPr/>
            </p:nvGrpSpPr>
            <p:grpSpPr bwMode="auto">
              <a:xfrm>
                <a:off x="0" y="0"/>
                <a:ext cx="960" cy="965"/>
                <a:chOff x="0" y="0"/>
                <a:chExt cx="1152" cy="1152"/>
              </a:xfrm>
            </p:grpSpPr>
            <p:grpSp>
              <p:nvGrpSpPr>
                <p:cNvPr id="40987" name="Group 29"/>
                <p:cNvGrpSpPr>
                  <a:grpSpLocks/>
                </p:cNvGrpSpPr>
                <p:nvPr/>
              </p:nvGrpSpPr>
              <p:grpSpPr bwMode="auto">
                <a:xfrm>
                  <a:off x="0" y="0"/>
                  <a:ext cx="1152" cy="1152"/>
                  <a:chOff x="0" y="0"/>
                  <a:chExt cx="1680" cy="1680"/>
                </a:xfrm>
              </p:grpSpPr>
              <p:sp>
                <p:nvSpPr>
                  <p:cNvPr id="8222" name="Oval 30"/>
                  <p:cNvSpPr>
                    <a:spLocks noChangeArrowheads="1"/>
                  </p:cNvSpPr>
                  <p:nvPr/>
                </p:nvSpPr>
                <p:spPr bwMode="auto">
                  <a:xfrm>
                    <a:off x="1" y="-1"/>
                    <a:ext cx="1680" cy="1679"/>
                  </a:xfrm>
                  <a:prstGeom prst="ellipse">
                    <a:avLst/>
                  </a:prstGeom>
                  <a:gradFill rotWithShape="1">
                    <a:gsLst>
                      <a:gs pos="0">
                        <a:schemeClr val="folHlink"/>
                      </a:gs>
                      <a:gs pos="100000">
                        <a:schemeClr val="folHlink">
                          <a:gamma/>
                          <a:shade val="24314"/>
                          <a:invGamma/>
                        </a:schemeClr>
                      </a:gs>
                    </a:gsLst>
                    <a:lin ang="540000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auto">
                      <a:spcBef>
                        <a:spcPts val="0"/>
                      </a:spcBef>
                      <a:spcAft>
                        <a:spcPts val="0"/>
                      </a:spcAft>
                      <a:buFontTx/>
                      <a:buNone/>
                      <a:defRPr/>
                    </a:pPr>
                    <a:endParaRPr lang="zh-CN" altLang="en-US">
                      <a:latin typeface="微软雅黑" panose="020B0503020204020204" pitchFamily="34" charset="-122"/>
                    </a:endParaRPr>
                  </a:p>
                </p:txBody>
              </p:sp>
              <p:sp>
                <p:nvSpPr>
                  <p:cNvPr id="40989" name="未知"/>
                  <p:cNvSpPr>
                    <a:spLocks noChangeArrowheads="1"/>
                  </p:cNvSpPr>
                  <p:nvPr/>
                </p:nvSpPr>
                <p:spPr bwMode="auto">
                  <a:xfrm>
                    <a:off x="192" y="28"/>
                    <a:ext cx="1296" cy="634"/>
                  </a:xfrm>
                  <a:custGeom>
                    <a:avLst/>
                    <a:gdLst>
                      <a:gd name="T0" fmla="*/ 1301 w 1321"/>
                      <a:gd name="T1" fmla="*/ 401 h 712"/>
                      <a:gd name="T2" fmla="*/ 1317 w 1321"/>
                      <a:gd name="T3" fmla="*/ 442 h 712"/>
                      <a:gd name="T4" fmla="*/ 1321 w 1321"/>
                      <a:gd name="T5" fmla="*/ 481 h 712"/>
                      <a:gd name="T6" fmla="*/ 1315 w 1321"/>
                      <a:gd name="T7" fmla="*/ 516 h 712"/>
                      <a:gd name="T8" fmla="*/ 1298 w 1321"/>
                      <a:gd name="T9" fmla="*/ 550 h 712"/>
                      <a:gd name="T10" fmla="*/ 1272 w 1321"/>
                      <a:gd name="T11" fmla="*/ 579 h 712"/>
                      <a:gd name="T12" fmla="*/ 1239 w 1321"/>
                      <a:gd name="T13" fmla="*/ 604 h 712"/>
                      <a:gd name="T14" fmla="*/ 1196 w 1321"/>
                      <a:gd name="T15" fmla="*/ 628 h 712"/>
                      <a:gd name="T16" fmla="*/ 1147 w 1321"/>
                      <a:gd name="T17" fmla="*/ 649 h 712"/>
                      <a:gd name="T18" fmla="*/ 1092 w 1321"/>
                      <a:gd name="T19" fmla="*/ 667 h 712"/>
                      <a:gd name="T20" fmla="*/ 1031 w 1321"/>
                      <a:gd name="T21" fmla="*/ 683 h 712"/>
                      <a:gd name="T22" fmla="*/ 967 w 1321"/>
                      <a:gd name="T23" fmla="*/ 694 h 712"/>
                      <a:gd name="T24" fmla="*/ 896 w 1321"/>
                      <a:gd name="T25" fmla="*/ 704 h 712"/>
                      <a:gd name="T26" fmla="*/ 824 w 1321"/>
                      <a:gd name="T27" fmla="*/ 710 h 712"/>
                      <a:gd name="T28" fmla="*/ 795 w 1321"/>
                      <a:gd name="T29" fmla="*/ 712 h 712"/>
                      <a:gd name="T30" fmla="*/ 476 w 1321"/>
                      <a:gd name="T31" fmla="*/ 712 h 712"/>
                      <a:gd name="T32" fmla="*/ 472 w 1321"/>
                      <a:gd name="T33" fmla="*/ 712 h 712"/>
                      <a:gd name="T34" fmla="*/ 409 w 1321"/>
                      <a:gd name="T35" fmla="*/ 708 h 712"/>
                      <a:gd name="T36" fmla="*/ 348 w 1321"/>
                      <a:gd name="T37" fmla="*/ 704 h 712"/>
                      <a:gd name="T38" fmla="*/ 290 w 1321"/>
                      <a:gd name="T39" fmla="*/ 696 h 712"/>
                      <a:gd name="T40" fmla="*/ 235 w 1321"/>
                      <a:gd name="T41" fmla="*/ 689 h 712"/>
                      <a:gd name="T42" fmla="*/ 186 w 1321"/>
                      <a:gd name="T43" fmla="*/ 677 h 712"/>
                      <a:gd name="T44" fmla="*/ 141 w 1321"/>
                      <a:gd name="T45" fmla="*/ 663 h 712"/>
                      <a:gd name="T46" fmla="*/ 102 w 1321"/>
                      <a:gd name="T47" fmla="*/ 648 h 712"/>
                      <a:gd name="T48" fmla="*/ 67 w 1321"/>
                      <a:gd name="T49" fmla="*/ 630 h 712"/>
                      <a:gd name="T50" fmla="*/ 39 w 1321"/>
                      <a:gd name="T51" fmla="*/ 608 h 712"/>
                      <a:gd name="T52" fmla="*/ 18 w 1321"/>
                      <a:gd name="T53" fmla="*/ 583 h 712"/>
                      <a:gd name="T54" fmla="*/ 6 w 1321"/>
                      <a:gd name="T55" fmla="*/ 554 h 712"/>
                      <a:gd name="T56" fmla="*/ 0 w 1321"/>
                      <a:gd name="T57" fmla="*/ 524 h 712"/>
                      <a:gd name="T58" fmla="*/ 0 w 1321"/>
                      <a:gd name="T59" fmla="*/ 520 h 712"/>
                      <a:gd name="T60" fmla="*/ 4 w 1321"/>
                      <a:gd name="T61" fmla="*/ 487 h 712"/>
                      <a:gd name="T62" fmla="*/ 16 w 1321"/>
                      <a:gd name="T63" fmla="*/ 446 h 712"/>
                      <a:gd name="T64" fmla="*/ 51 w 1321"/>
                      <a:gd name="T65" fmla="*/ 370 h 712"/>
                      <a:gd name="T66" fmla="*/ 94 w 1321"/>
                      <a:gd name="T67" fmla="*/ 299 h 712"/>
                      <a:gd name="T68" fmla="*/ 147 w 1321"/>
                      <a:gd name="T69" fmla="*/ 235 h 712"/>
                      <a:gd name="T70" fmla="*/ 204 w 1321"/>
                      <a:gd name="T71" fmla="*/ 176 h 712"/>
                      <a:gd name="T72" fmla="*/ 270 w 1321"/>
                      <a:gd name="T73" fmla="*/ 125 h 712"/>
                      <a:gd name="T74" fmla="*/ 341 w 1321"/>
                      <a:gd name="T75" fmla="*/ 82 h 712"/>
                      <a:gd name="T76" fmla="*/ 415 w 1321"/>
                      <a:gd name="T77" fmla="*/ 47 h 712"/>
                      <a:gd name="T78" fmla="*/ 497 w 1321"/>
                      <a:gd name="T79" fmla="*/ 21 h 712"/>
                      <a:gd name="T80" fmla="*/ 581 w 1321"/>
                      <a:gd name="T81" fmla="*/ 6 h 712"/>
                      <a:gd name="T82" fmla="*/ 667 w 1321"/>
                      <a:gd name="T83" fmla="*/ 0 h 712"/>
                      <a:gd name="T84" fmla="*/ 759 w 1321"/>
                      <a:gd name="T85" fmla="*/ 6 h 712"/>
                      <a:gd name="T86" fmla="*/ 847 w 1321"/>
                      <a:gd name="T87" fmla="*/ 23 h 712"/>
                      <a:gd name="T88" fmla="*/ 932 w 1321"/>
                      <a:gd name="T89" fmla="*/ 53 h 712"/>
                      <a:gd name="T90" fmla="*/ 1010 w 1321"/>
                      <a:gd name="T91" fmla="*/ 90 h 712"/>
                      <a:gd name="T92" fmla="*/ 1082 w 1321"/>
                      <a:gd name="T93" fmla="*/ 137 h 712"/>
                      <a:gd name="T94" fmla="*/ 1149 w 1321"/>
                      <a:gd name="T95" fmla="*/ 194 h 712"/>
                      <a:gd name="T96" fmla="*/ 1208 w 1321"/>
                      <a:gd name="T97" fmla="*/ 256 h 712"/>
                      <a:gd name="T98" fmla="*/ 1258 w 1321"/>
                      <a:gd name="T99" fmla="*/ 325 h 712"/>
                      <a:gd name="T100" fmla="*/ 1301 w 1321"/>
                      <a:gd name="T101" fmla="*/ 401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chemeClr val="folHlink"/>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endParaRPr lang="zh-CN" altLang="en-US"/>
                  </a:p>
                </p:txBody>
              </p:sp>
            </p:grpSp>
            <p:sp>
              <p:nvSpPr>
                <p:cNvPr id="40990" name="Text Box 32"/>
                <p:cNvSpPr txBox="1">
                  <a:spLocks noChangeArrowheads="1"/>
                </p:cNvSpPr>
                <p:nvPr/>
              </p:nvSpPr>
              <p:spPr bwMode="auto">
                <a:xfrm>
                  <a:off x="77" y="537"/>
                  <a:ext cx="972" cy="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eaLnBrk="0" hangingPunct="0"/>
                  <a:r>
                    <a:rPr lang="zh-CN" altLang="en-US" sz="2000" b="1" i="1">
                      <a:solidFill>
                        <a:srgbClr val="FFFFFF"/>
                      </a:solidFill>
                      <a:latin typeface="微软雅黑" pitchFamily="34" charset="-122"/>
                    </a:rPr>
                    <a:t>经济利益</a:t>
                  </a:r>
                </a:p>
              </p:txBody>
            </p:sp>
          </p:grpSp>
          <p:sp>
            <p:nvSpPr>
              <p:cNvPr id="40991" name="Oval 33"/>
              <p:cNvSpPr>
                <a:spLocks noChangeArrowheads="1"/>
              </p:cNvSpPr>
              <p:nvPr/>
            </p:nvSpPr>
            <p:spPr bwMode="auto">
              <a:xfrm>
                <a:off x="0" y="1056"/>
                <a:ext cx="995" cy="276"/>
              </a:xfrm>
              <a:prstGeom prst="ellipse">
                <a:avLst/>
              </a:prstGeom>
              <a:gradFill rotWithShape="1">
                <a:gsLst>
                  <a:gs pos="0">
                    <a:schemeClr val="bg2"/>
                  </a:gs>
                  <a:gs pos="100000">
                    <a:schemeClr val="bg1"/>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endParaRPr lang="zh-CN" altLang="zh-CN">
                  <a:latin typeface="微软雅黑" pitchFamily="34" charset="-122"/>
                </a:endParaRPr>
              </a:p>
            </p:txBody>
          </p:sp>
        </p:grpSp>
      </p:grpSp>
      <p:sp>
        <p:nvSpPr>
          <p:cNvPr id="40992" name="Rectangle 8"/>
          <p:cNvSpPr>
            <a:spLocks noGrp="1" noChangeArrowheads="1"/>
          </p:cNvSpPr>
          <p:nvPr>
            <p:ph type="title"/>
          </p:nvPr>
        </p:nvSpPr>
        <p:spPr>
          <a:xfrm>
            <a:off x="446369" y="551793"/>
            <a:ext cx="8782159" cy="788988"/>
          </a:xfrm>
        </p:spPr>
        <p:txBody>
          <a:bodyPr/>
          <a:lstStyle/>
          <a:p>
            <a:pPr eaLnBrk="1" hangingPunct="1"/>
            <a:r>
              <a:rPr smtClean="0"/>
              <a:t>项目管理的本质内涵：认识本质、找出规律、有效管控</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AutoShape 2" descr="data:image/png;base64,iVBORw0KGgoAAAANSUhEUgAAAjcAAABsCAYAAACW/pOzAAAgAElEQVR4nOy9e3wU9b3//9xLkkk2CZtsQhbCJTEJRhEJIBpFaxRBEGnxWi9FsdZz6DlWOVpbrbVNtV5arfXSntJTraK10tNWaalCwUsUwSi3hIugISRAAiG33Vw2OyR7+f0xO7MzszO7m0Db7/f3zevxgNnMfC7vz/tze8378/58xvKYzRZmFKMYxShGMYpRxCCUk47V4yeUbsHqDxOyWLCGtdOmtbSMzIkT6D/SQqC1Bavfb56exQIIWPIdLH/oh7xX8z7bdh8lv6GewXBsPEt6DkFRxBr2Yy0tw5qXTqB2lybvkunTOPTGOkREEMDqDxMuGUtKvptA7S5C49IjocXoxSkQCY7oFaEILIP5hAf6IjfFqAxBFwtu/RrrV/2O8FCXdNMpkFpQhvXQ7mhQQZAS94JlfD4p+W5CnX6Vbg5EwunKmOICkNKWn+mvgD3dAkBOiptzvnQ9W997ns7uUDSMKDCrtBJhbCpW0xoYxShGMYpRjGIUgEQYQukSsZEIihY9e3cTOtAQl9gAWMNhrGE/4Q4fv7rrOwB851s3I1RVGoYvveIS7vzb64Qs6QQaW8hIdxEem4drygQAAo0tAITOK1NIVyjdgqWxnbygnfDYPA1RQSRKXgSJ2ExYMIOLzjwdqysNS0aWVgARyLJy+pVLGDd5ElZPGAQQvCLBkIehiROiaarStzS2M/eiSwHw1tYQOtAghVGHi/xpy84hPOSLzVd9VSF3QiX1NR/S2R1CEKKkZ3zeGQhjU9lct2WU3IxiFKMYxShGkQihdBWh0VkeQgcasLR3Dis9a9gPiHz+xpv85tnn+Nq37yb7kktiwh16Yx0b//YmN736PwD0vv8+Uy76Eh1HupR0Pn9jHdOyXFjSc7D6owTnaMu+KCHRQ0QhOC11O9m0v5Wgz0tKvlsbToDw0Q5O7NrNOOeYaHQBgkdayLUEwRlJTzEFQXhsHmmTJxBoPABOGH/VTC1RiYQTEQj4DiCIBixGh4A/TE6Km67mv9AerMOeYyGQbiHgSWN85gyKp+SzecsGCPWPkptRjGIUoxjFKEyhmnNl4iBfTxaKpeVAA7+69jZDgjMY9nNo5f+yffM73Ln6VwB8selDLFkOVTp+dtTvpuCsYkKW9Ghkr0inLSAtS4kRk4rRso8X6O6X/gGZ6Xb0DO6Yt5v+7BzNvfxJ4/D39WGbOAFBZWmx+sOknDaeE4dapDIK2iwVqKw4otqi441cdTHs6RY8Q214dcuC+WNzKJ6Szyf7NipRbHOt1mp9fqMYxShGMYpRjALCWSlYxADhoIWwxULsgtTJwYLkh2MZ8rP90+2cP3MaxTMraGppweIbIGSxEMCOZ+s2vGErF950A/vfep/UaUWEWo5H0/ENMJCRSdgexNozQDjFggCc6OnFeVYltDUTCAQgANh1QkT+FoATJ3oZe9bp9HZ2QiAAgNUTJsNuYcIZp9Owsx6EAIIIva39BCeOpSCcj2ewTUkrLWjBlV/I8eZD9B89RprFgnfnMYayjLQXiP4UwXbGBNJ6g5TccCPnVlxIy5ZPCNildEMBsKZE0wj4w7gyxlE+IZuPdn1KKBAtxyi5GcUoRjGKUYzCBGFLCuGUINjBOqS1GIQMyI7RvURQCI4/xKHuLg41H+GSyy/jcK8PuruwECBkSadr3wHawgEuuXYRjTs+I2S3YvENKOmkePwwroCg3wMiBOxg7RticGyQAGngGYBMczkCAuANIKblQ4aVcHsv2CEctNAW8FF6xjQOfLpZCusUmHDhNPy+NLwd9VGOIkIgUyArO59j3S2ECREgQDjHIpEoFZdB0P1th3B3LyWXXsm8r97A6z/6MYGQXwoXIWBqguPKGEfaeDf7m/eSGgDSLVhTLIzJGDe6LDWKUYxiFKMYhSkE7TJUyGJRHIr1u6bM7iUDazhM2O/BmpdOuLWTd1/8AyXTp+GePTPy3I817MdbU8vGN99i3lWLGDN1mrIMFcqxIDoh0HoAS5YrKm+6heDuFsblSg7Ikq+NiRCRlavB4w2MK8yXdlQBOCE80AFIu6Dyp4xjfN4ZtNTtY/Dz3dElKVB8aXo6GyNxxBgnYnU4jQ48YayeMPOu/zK/e+pZ0jq6JH8eHez+MM5IHYiH6wEIpFtwWizY/WE8Q22j5GYUoxjFKEYxiuHAGg4rDsZqsqNxOo4glJ6Oe/ZMrS9MHAwdPIpt+kSsYT8Nf34DgLJrrsaSnhPJ20/oQAPrV/2OqkursJdIpMWSm0/+FMmhONzni2zLjsjrD9Pu6SN/YqF2Z5MZvCLHWjvIH5sTJUMRIjKl4kI62j0cbdkpOQELOo4SSd8nDkp/60lMgrwvv28F+zbW4K2pQXSrAqvSyMywYrEXSKJGyKTTYqHzaAhRhIAnPEpuRjGKUYxiFKNIBvIZN8qZN+naM280Fp70dKylZViyHBzdsw9LvkNJIx6sfUGGDh7FWlpGyGLh6LadHHj7fUqvuETa1h2Bpb2TtY89wx1334UlPQdLYztdnxyNyKHdjh5KTyfQeoChwjJwC/GtN4DglHZCpY13w/hMbGUTyJ8yjt6j+2hqPYDgNSA1SmQizsui7p4unIHVpuyaq0nLzuHdF1dFLDZiTDgBsNgLCAeO4xlqw2mRLDadB0M4y6u48xdvUpJfMEpuRjGKUYxiFKMwhaibpCF6mJ/67BuV1SY8No/xZ52BvbUFa1+QhXf+u2RNIfGyVTAymwe6WrCXlCrLVQ1/foNxkydFrEBSXkHRy2+efY75d94ak47V71ft7pJ+DzXvILWgLC6xkYs859L5HGvtIDWrmFxLkI4vjvHJJwcZ090d3dlkZoVRkxlRdU++rz7vJnIvlJPOGRXT+cvzz8fVkd2SSUd/n2Kx8YbDdB4NMeeK+Vz3o2o2/u1NWjuOj5KbUYxiFKMYxSjMMP6sGYBEaNSWGXkCNtoennLaeI4dOowogKUwj7TsHFasX0fZNVcntTxly86RrCOgCX90206O72li/DkzNDLU13wYsfTEpm31h7GWlhEem4e/qYe8oB3cgtEBwJLvTISMbN6xgWBHC9bju+k4fAwECIZ7SBkzVhPJ7EBheVVMuYLqAMFIXoKcp8Dca77K+qefxNLeSSjHok0rsi1cAALhfuxpPs4vnkLAE0YQHSz5j2ryyy/g9eVX8vmaVwjkWKLkJjWBqSzZMMOFnOZw0taHNYqbarH8Q+Q1y+8fmc5IdPSvxD9Dzv9bdDFSxCuf+pm+bSTSy3D1lqwcI4VZ3x1Ofv8IHSSThlE9/DPxr87/XwWjek5mTjBLJ9G9dk8f9sqzCY/NIzUnU/KxSZfqX76C1t/G+sluxk2ehCXFIfnH/OAJnl9wFWdUTOebz/00rg+OfH7NYDhMsNeDJd+h5CFbcY5u20fZNVdTds3VABzdtg97Y0skbLpSFjle5sQJ3P3HP5GabuHonp3kj82Rz++T+EaE1My55lYEQUAQQfCqDDCR43HCoT6GrNKWb9mJWLbiqA01gu6qIJKOIESfD3rCzLqsku2Nhxj09BPKsWgJl5KWiBjJzO4P83HTF+TlWrn+iuvoO9TEX17+JYFwP3njrdj94ehW8GBEGUZXGfLvVIsFW+RfUPW3Oqz+Xqrut/xMjj8YDmvytRnIIuc5GGGrqaq/9eEGw+G48urTNJIT3b1UncxG8fTlNNOrvhzx9C+nZya7ke6NdG12Xy+D/r7R30b1L/9tSyJMojpO1J6SrUez+jQro5mcZjo2a1vx2oRRWP0zs/aqbn/qtqHvT0b6D6rCJasHfd/Sjwfx9KzXlTqPeOU0qlu17Hq55TTk32qZjepLfm7WRhP1cbnsNl2aRnV+Mv3PrI8YlcOonoaTZrzxPN74mez4l0gHRvHM2o5cVnWZE9VfMvOIUdsLAil+D5bj7ZBfSF7hePoGvAj90v5lewDJohGQznaxpVuwpVgYHArTFxgibUgkkJ2NPdRH0O9nX80H1H3RwCXLb6P8/PNoONJKisePzRKMtuNxhdKnCoAx557Hbcu/Se2690mLhAmUjMU5fSbhjuMc2rULS6ePtEA/EMA+EI7IE4j2r3QLgQNtpNkCXLb0dvZsfJ8+WwrC0AAEpDKIAgidUDq3ivIL5/HZ2+9jy5K2bkeOmJF+iwFCVrAGBhHt0R3adjtMHleAv92HPbJl2w6IooDQGSDnzHEMnuiX8lLFGTwmfQMr35rK8R212LIsUjwipCYghVPyJ4BoB7sX8pwzWFS1gA2NddTvXE9elkhqZIv4gB0sT9ntI9q3pm4YciOL90wdRh9eHU8fRn1PjFC+vvzpAPSl57BnUPoOxoAQPa0xQ5TWNs9K7SPL7wEg23uAtL6umLVGM1mMnunlk8uYjOzJ5pkM4uneTNZEdWAmc6JwieIlGz9RvHiyGD1LpL9E9ZisHkYiR7JtLpGuko1nluep0OdI2vpw+spwZU8k90j7RbJljzcWJlMuMxnN8kxWl8Mpd6IyJKvr4ZY1mXjDabPx9DCcepbMDBEzh1MgNLmMQO0uUtMt0Y1H8hZqf5jUdEv0u0lVVRTk5nDojTdR2zEEBI6UTWfp0oX0HWrivb/+jbSOLk7ku7Bl52DvOsaJFMlKseDWr5GWncPfVv0OgLE5WXQf+AK80jw3JEh7pYOiiIAYUxZRgPyJhfQ1tDL56qs47bRJvP/CCyD6JFIDyinFJ7KkD2Ru+8uf6OtrlYqlssxIJRAQIuVQyu+FrCnSacWBY/3RdNtg1k3z+eLAbvq+OKasMynWIgFmXTqfze99CKKofHdTD42cAuSVz2ByRj5baneSFuogM1dahPKGpS3i3nA4Sm5GOiAOF8OLL3Ai30Gvs5SPbZPILjqNshLpuxdTpxXjdjtxu904I3vxBUFAFEW8kbXKtrY22tq87N3dBEBDYxu9zQc5P3g4huycbLnilW84E8BwJvfh5BEvneFOfCPBcAexeM+HK/9ISdBIZU1G5nhhTsWkES/MqWhbI6nPk5l8hpNGMvKPBKcinZFO8smG+UenO5J6HQ6JOlVzz8mMXzFy5GRKRCJCXtyzZ2rIhSiAIOpmZflPp4Op58xm7zs1hnIIQH9JKSXTp9F3uJl2Tx/BXg+5Yei2QNqQCN4gQ4JAxYUVHPP20L1tH0OCQIro1QoukzCzckR+L3i4miMf1kgyOVWCgERSzh7H+HABnx/Zj+aMGhOIAgjNMOvq+QBs//0GkD9PJTpYvuZvvHbH1+g70hpzZo1NyAYg6O3V6G3QEyY1PT1CaqJf2DyRkc+43AmkW47S2iedziyfb6PHiC03Rhhpp9fHO5HvotdZyruOM7hoznTmzpuB2+2mvLwIQQCbzQZAMBhUfushP1Nf29q8tLV5qavbz97dTWzaXM9c3z6J6HR0jazQo/iH4VQRzlOBk5mU/pny/Kvwf5o8oxgZ/m+qx3/kC6kGTodCbmTCkls6he5tO6XngoBQWcmskslsfu0PIGqtJ7kR518lvAwVHxIQoKqSEjvUN7VgbzxgIIhA7jlncHxPE5bCPOxdxxSCpU0UDM0foFiGxuZkSb5EXQe00SLIyiqkr68LQ3JjdE6OF2ZdMZ9O0cGht9+UDv8TRUKnT+OKRdew/rHqyIGAerkEEG0g+KJpe2HqZVU4J09ms7IlHHBCVkohfnsPYb+VoNgLTunMG9lio8YpJTcnBQE6Jp7Hx7ZJzJp7AXPnzaCyskKxypiRGIDt2xtxuyUNtLV5cbudFBZGT2gMBoOaNOS/vV6RNWtq2Lu7ie3vbuH84GHyj3yScJvcKEYxilGM4v8ROJE+5KjiDYGSUtKC7QSbJYvDkOBk/p23UjSphObDjby76T2snzQgTyah86YR6vTHkhYB8hZI5KdzjUR+AiWljM3J4vieJlJizosRCBROILPxACllhXhC6SZEyKgcEikb2LYTEZhQWkRLZ7NGFr1smm3ckWtmhpX+gZB2nhTh9IkV9HOM1objks7aJGtO0xcdErHTfWxcA5kweWHqhVWc++Wr+dPzP6Gvr1VFptQH+tkInX4aqb1NBML9ZGZoN357w2Fs8//V35YSoKP4PLbO/BrO2ZU8+vO7uP6rl1BaOgGHIw2r1YrH4ycjI5W33trMpk272bmzgZkzpwDQ1eXjl8//kQxHCq+9upHduw7w8ZY9XL7gXCWLb9/z30w5fSI/fvgVSssKcbnGYLVaSUuzUVFRyvzLZzO9ciZ1PoG3/eMoyErDMdClfDRsFKMYxShG8f8qBGkukD1dAWu4m5wJZ+I/Ku0csgVE2rbUs23dRtpSU5h3+RWUXnIhBadNpmNfPcHj7WSkDODLz8HuiXwLShCgKMB13/03GnZ+QUb5OEL720j1dNPdLeLEylBmCBhSvr8kBAIM5uYS8g8w2O4hlJtLKDcXq6c7nvT48l2MPe00uvfskz6eKQj09vaDPU1KXyYy6g9qRpylCRD92KYdsksqGOhs03wTymbPxhPuor8nSBgLBAIIGQJW95n01e9iKFt7qGAMIrrNLZ9BSeV5vPloNYODfdJ3sBS5ApKHcX+AyfOv5KbvV3PwwDYGWtoYEEBQL/dZLFFyI5dB/9tIUWbh5L9lD+pEaQRKSvlw1h04Z1fy2ON3cN31VeTmZmO1WrFaJSYWDAapqrqT/Z8dpulgG2+8+QHf+MYSxo/PBWDfviO88eZH9Hj6aWhs47HH79CQG58viNUWZM+eZjravfz+9Rq2ffoZefkuCgtdSl7jx+dy+YJzWbRoDh8dhxpPBrk5WTi6WxPqRF82s2+DGenOTIeJ8oyXZjJIto6TeZZsmeOlZRZuJOWLl5ZazkRlGY4+jfJPdB1OWsmGSaaMw5U3mXTMdDncMSUZOZP5O97YZFYHw2mzJ9vvEuURb/yMl3a8uh9JW4pXp8ORJ16/Gm47S6Sbk62PmPiZ0hewA3YQ7NKVfrA7bAzkFGD1dEvcQAhAIECguZkD79ey7+NtFJ1dzumLr6L0oiqaewMM7TtKttNBaGwKOUVT8B/u4/OX3mGwuY3rv/84e/+2CX/AjyMgEg74CYg2sNsRAnYCBAgA1vAJHEIGQwN+MjzdpNssZJ1Zjv9om0EbEOgvKSJHFOk9cDD6wm6PMBb7EIVlBfS1S8tumviyocQOkaIBMNDWFqPgMCcI2QcJB05IaQcAp0CGeJyuzg7NV8dNx+ZUgZSsfJreWSPllSnpWe0P5BBczP32d5k2MY9Nzz3PkYN1ZNpBEGKP7LPrV8Hkv/UWKhnqZ/pw+n3tZmn05LtoHTebtIsu55lvXUVJSaHyTO9Hs359LRfNma787XYXaMKVlxdp0m5r0zpZ1dTUsnLlOsURWb7Ky11yWi+/vJ7bb19EYaGLp5+5k8bGq/jl82/SgbTTSoj45JiVSa0DfTj9vn+ze5iEMcvHLM1kkGwdJ3qmP9tAfU8No/SSkX0k5YuXliyL2adO1IdnDkefRvknug4nrWTD6A//HE78eHImK/PJtOVEiNdX1H8n0weN8kymfk5GNwbeBnHDDbftqeVINLYkk4ZZXx9OWY3qZKRjXrIyjKR/xS+3A/BJ4UQkv10BhhpaGXvODAacAqJXlOIohRURRJHtL64CBAbOK+P2m++g+ZzpfLytnozWBrq37dTk+Yenv0eQqAVGFATp202i7LQsPwjSU5hDZr8PURShswtfQCT3nBl079kn7ToCRKeDjNIp9Hv66BmTQ2ZnrF+pCNIyElL68q4kRSeRe8hlAzLt0K9iKHKYzAD0q64AbR1+RV+CqNK3ujyStrClpjLQIi2ZCc6oromszKVMLOScr1xLx/4trH/jQwREKAIC0D8Qilmasqrrw6izq6+autP91ncs/TMiBTpSdh5vFi7miofv55FHb9MQm7fe2szLL6/XyFBZWcHUacU0NLYp9157dZ3yu6amFpB2TwGK742MRYvmUFbi1sQHECL72xobW7nv3l+xd3cTXV0+XnzxLQCKitw88ug3Kbv3Ad4sXMyRsvOUg4eMdKPWiZFe4nXyRAOBWT7DCW8W/2SfJVM2PekxSsssz5GUL15aiWQzmhyT1Wm8AVx//1TUUzJ6HE58s+tI5Egk13DLmKivGJUjmTLGCxNP1pG2y2TCm46fCa6CwXWkbWGk8ePJkoxcJ6ubZNLQy5lIBoFg9FnkoTxR93Q2kpLvUnOa6KF28hWRjE8aeOmuu2ivqyejv4fcaedy+uwK+ktKseW5cGS66NvlkdKOCHH9T7/K1JukHUhyfnKKY3OyuPGnP+WSb98NgoDg9TGwZx+5Z52BI89Ff0lpxL9mH5mNB5h31SKqnn8yWvZIekKkLLL8joALUXQoeSp5C9Gw/QGJ4CBIV7mc/TqTjDDUT5DeKLGJECe1/qI6FkkRe6M6jlzFiC4yzprBpMllvP/CC+z9/QYEp4hYFMlXvZSmgu2KyLKU+rnd5CqiOtDHIIwY75kgOQwPzr+BV159gKlTS0hNTQUkUuNyuTjrrCKWL3+KwkIXmzbtZubMKaSl2XA6M1m/fhuu3Ey6Pf24cjMJhYOUlBRy+umT2fbpZ4wtyCE4FODSubN57PFV2Gw2Zs6cQmtrF6+8+g5lJW7mzpvBho11PPb4HYrD8ccf72bDxjpcuZn89qX1BIcC5OW7cLudpKVJacydO4vaLju+Ti+OUCt20VxHiXSYjJ7VuhxO/GTyTSbsychtFMaoLIna0kjzHkkaRr9Fg3DJXNXlGkkZT1bf/4w8kpUj2fgjkdls3BlJXzrVbTve9VTKYpb2cPI51W1JX/9GMiWb/0jCDKfcZmFjwgt27GJAuSkGwC6APQA28QTCpFKGBrzY+wMggD3ClpSrHQgEsAO9R3sJtvcwtHsfXVNKWTprHq75c9i9v4GMjvaoAAGo31ePp6FR8XlRyhgQsHYPsHdjDaddVkXV7TdzoPkwQ+0tDB1uo29cIZldLQwdbEFeBGrZUo9/cj7l0yvo2Pk5EJBWplQFtYtw2rnncdYVV9Cy4RPIlOZtewDl8L2SiRX0hPsRrYNkRshMqhUGQxLRSQ1JZCMT6Sr0R+KPt5I6FGagHQrOKKDPZiE18tVw0zYjSrobErKxDQXo3LMbe/8Qk2dX0GXrJyQOkomU56AV5QC/MbYwglVFbhAwXwyTl+kMHqth+FwAMgXemHAVl97zH9x1940Igl3xqQHYtGk3Xq+X/v4A27Y1sG3bAVasuI7s7AysVisff7ybbdsO0O3pV5aVvn77QtLS0gDIy3cBAa5YdD5utxO73c6CBZVkZ2dQ/YPf4srNZOq0Yn73u/cpK3Fz9TUXYbVa2b69kW9/+xf09/v4+u0L2bbtAK7cTHbvOsD8y2crMubmZnP5gnN5u2GAmo5sJliOIwwkcJCKB72uDXRvN6uP4aZ9quLKz5KQXX/frg8X6TD/UiTQU0xb1slvpoN4E31C/dpJzqHDrC6Gk99IkUyaybYR/bNkw+lgOi5F4hjWgzyrnaR+lLSTLLMmfLz8k+hXhmmblTlB3BGFSyIddT9PNH/Ezd9MX7q+kHQeycojIM2wMrkRifpyRK5DA14ySs9g6GhbVD5ZVplFRdIK4yf9rHICjjCWw0fZ/dFGmt+vpax0PFOml+N15hDqHiQc8GP3Ivmc6OcGp51w9hBhTx/N79eyZWc9N/37crJOn8KxHQ2kdLRK8moQwLftc4b6uuC0iQwd9WoVZpfy6rcNccH8xXx+YBeh3j6pm2TCgFUiKhMqz8ZpK6DvcDPWVInADA5GLDlEiE0geh2wShaYMRlj6Qr4yMoqZPEdD3B8fy3+dh9iZqSNeIEMAcKBaL1EftgCJwi1D5Fx1jSu+dY3EFPSOb5nN/ahgCJDZgBIk8jNibBFR26MBlZU9xINBCaduyfHxV/HLuA7T/wn115bRVqajXA4TDgcVshDOGzjL29uIhQOsnz5YhobWrhi0UWkpkrPGxqO0OPp54cPL2HevIs5e3oxBQXRrd7jx+cyZcokxRl55swpZGdnAHD5gnO5bN4sKipKqaw8g62f7leIy5gxY1i/fitf+9o8nnpqNTOml7Jpcz3/+8cfafx+gsEgVquVyxecy9jJbl7Z0klJ4BB2cch4okk0OOifqXUv/x6BrmPs9IniJZLLSB59vnInj+1LWqjbz3C8HJOdyI3iGbTplLJCQt19yXumRlBSVUXuaUXSv0lFeLrbUAYHWQfqMhrJHdDer/pBNe19PdFBUV+HBvotuPoqwmnpDHW3xda1Ud81KY9GRxG5U8oKKZ45SynnidwcSTY1jNq6fmyI10bMZCQ2HYdTYNKFFyo6zz2tCM/B5qTaQsllVUqc3NMi9SUP+AG0+k6CtCZsh/o+bFRmfX+KVz/6tqSeLONN8Gb9X9+u4qWjf2ZGBuMRb30ZjOQxmluMyiDfM6ov/Vqj+llm5EYSLwcpZYUsePaXZOdm09nfKY0RyOFU5EatH1kn/QFSxo8jNDhEeMAvpSuXXz02RMowdLSN0EAf4V75BTlAz1Evx1u66U6xUVqUz5CcXsgPdij48lVwrJkhMUDKxAKuX/6f7Nn+IRAgtaObPevep3twgFnXf5m0jHSpn8SUN8BAu5dQ9yBWewrhQDjKPgNAJoSODuEf6mOM04XnaDPYIaeggGxHJv5uH16viDjBzmBLG9ZUyWoSmabpD0BhTgEnUv2kRj4immqFQD8MhXxYeyF02iwObq2l98ABhfzaM6H47Crae9qxBU4QA6tASp4Ld3oGf9+8g653PwabtHxiTY1YbULQHwwr1hvBCpZfGJ1zo24sYNxhjMLoGmZPvou/uy7l6ZcfYdasEkDavfTQg79i6rRibr99EYDi56LG3t1NPP3MnUocURRxuRwx4eRnoupkRkEQEARwOGLDq7F9eyN1dftxu528uzF6wNLNSxcya1YJjY2tOJ1OHn3kJW5eupCKiiJsNhtvvbWZn97/Sy7vejcvyNQAACAASURBVI8x6k86GOlCUGWoD6e/Z7ZwrK8Hs3zMBgUBqr5XTfl37teQtr2PP0rNY9XaOGby6NNNJLtZmvr7el0YTe66smjSTEaeyL1ZN99K5coXqF3+DcnRL54eddflqvZls9lYv3AejZFTR4ddV0DGOTO45aOPsdlsDLY20rrpUzY+/ABDDa3mZQfuaN6PzV0EopfDazfw+arfSnKY1b9eV2b6AaoeltqIjK5Pavnj5VWx5TFqb0Z605fbqE+gCqdLS9aRGiudgrmuVfGXe7U3N165QKunRPJjEIY44SPXksuqmPe39cb9TJQI28XP/w97n3uaQ7vrjPVhIkfJZVWMrZA2V7TX1ZsIpoVz8mSyJhfTd6gp2ubj1WW8cUh9Ty+nWb+MlNl9TqUmibZttfi8IghQcmGV5tkxbw8De3aaphdXbtX1it+8QvbZZ/PxN5ZFda0vU+T3Fa++QvENNypZdW7fwZ+uvIJgfxcIAkRkNSy3iLQzqPQMBrbtjDuG6cfh9i2b+ePFVUo46cMGIjYhF+vEdFLGjCXfEubKLVsBaFr9OgPe43y66veSjgzaZ8Y5M5hVWMK6PXVkNh5Irs7VECAvrwiPt4+gvQt7pkRQ1Fcl6FkzOHG0jXD3MelGthV6Q7FCqRDol65yerNnVDHxzGLe+OXrklC5AoQk4VwTC+g6onJ4Bux5IKZkYvf0a2RRkC2xLbu+cAJIJzjrG63ZQGLUOQWwZbp4s3Axq1dXK07DXV0+Hn3kJQDWrPmYiopyZs0qYdmyBTQ3t7Fixa9YsuR8li1bwH33/kpJzuGw4XA48Pl87N/fppwwDNInFdrajmuyl3dUyUtY6hOOHY7ooFNe7qaoyK3I1NDYxsqV/0VhoYtgMIggCMqz5cufYM2aJygsdLFo0RzcbjfLlzu4vWUtQbFLo6+Y8SDOYKycmK3SueH4K98X0HiwK2HUeUciKeFE6DvUFGONUssip63IpcpDSVuVnqZdyATqySfJP3s2/0zseKRaSzIi8ip6jdyTiU0wGGT2L38NwPYXV8Wdv+S0EDDWnQqK/tT1YDLRC0DV3f+lpGlzF+GY1IatoZUhJbHYeJOnVZBaKL0k4HBRfMONfPqjH8TKoJYdNI7wcvtQ7qka2oleT8xBl/pBcfK0Cs596pl4GovBwVdekiZWI1Khl131LLRnZ+zhnQaDtKbckb5kWF/qOKq2rGkrOr2rdad+pukLOujz7jvUpMS9+Pn/ofiGG5l03fXUf/+7fPzUs+bkU5f+xC9VMfWBBw3bXzyIIvjqa8mqOGvE/fPgKy+x/bVVin5N5TS45z6nknl/W69Jb+OVC2j8qAZENM9sNhtNq1/n7aW3xNRtjM5VeWodbiUSUXzDjQSDQRZuqmX/T5+g9rFqbZuP/J48u4JJ112vke/Ab/6blP4ugvo+pGsn0XYrMtTTTkpZofSCEockxvQx1TMxMtAHxW6CDTBEF8UP368kI5fpyF/eotGAZAnAwLZ9bN22j7HnnEFGaRGdB9oQBDEqP+AQBNwXagmnGv3ZOeQBvlAzkzPyOTTQEXMt6B/DxJlVMBO27fiLaTj5Ku7ZGUOOsAps2beDlPdrSJlYyOIvz2ftXzcw1Ce95MnEBqLtINAPmWI/ohgxoGVGCROA0B8ikBlZPkRVaDFSkWYMWb2FSx1WuS+AKAi8nncpK1ferxCb1tYufvbk60ydVsze3U0sX76Q6uqXqK6+jVmzSigpKWTJkvO54YYqbDYbT/7sm0oDqKtr5rVX1xkSGSPIYeTrps3SW47bXUBZiVuxzDgcDhwOePqZO+nq8rFmTY3iaHzfvZJ1aeq0YlauXIPbXcDy5T9n+fKFLFo0h1mzSqiuXsZP7/dxI++R0h/dZmfE9wwbuzqsXsdq/WJwX9TGj/FIF6LhRAG8hw6Z6ksQtGli8Le+juWM1dv18s+ejes88w7zj4Jef/pJLLO0iGk/exaIDiwagmNSPrV3vxpyGmo967M2awOiCIWXVWneEm02Gzank8Uf1JiW8Y8XV1F8y83K38FgEEQvl7z4chzNSOjYtZXab92HXBT1dwDVZVVbA2w2G77Dh2PCHNpax8Jh1vGHz0q6V+er0TUqedQwIkEGhEJpq2rCrYJSX/q6NWjD+naklku9nVUzDqrSattWGyOz3Peu+E3UOmCz2Zj5+FPkTJ/FB9/6N4Iqy6CRfOoyxTut3QiCEMQH4PGNuH92fFAT3cqrHx+UjNDOI0QnJCOZo1ubvdgcUTeDgaaDGgKqH4f0daX0t4iuZt1+q2KBlPMt/879FMxfSO23/p3jW+sUIW1Ogfl/XB0jX+XKF5j9y18npetgMMjW//x3tr+2isnTKjgu6KyvqjanhpK2ikCp27YoQN4EN1MfeFAT7/Af/5fGj2oRIo1D01YiCZZcPZ/G33+IR8jAlueQfHfkLeKCRDgXrNuoOb1f/8miZCCHncqDccOc+Uktb95epRAbe7+sGpHMgIXJV8/n7MorOXFoJ0N9rZourKjQKiB0S38FJ7rIGDMWgKGedjImjCVrUhETcrLJmlzMkG8Ldk3nRttg9fwGXYczJDbA/7oXxyxFLVlyP8uXL2HNGsnM3NAonT1TXf0SzzzzTUpKCrn99kWKskURamo2s3LluqQITTJoaztOW9txNm2uV75ZtWBBJTabDZfLoSyTAdx7343U1e1n5cp1CikCNOfqLFo0B4C3f9DHmYfXazq/0eQfM6Cq9KqeTAWDxq7u5GrCI6env6onLzmeutEqjVfF+GMmGvXfRhO/rmwdH9TgOq9y2IPvycJIryrx6W9p5v15VSzcuF4ZRG02G5UrXwCiBMdw8oskFPR1aQZgdb4xdRiHAAoCnPPjn8SUwXXmVMDYKgSQV1pE+dKlSh3abDZwuJKerOR2KZM1wahu0baRgaaDmvLI1+HWb2avhx71xISBrg30ZcBtJJnNiAm6ejOJp68j0/5KtG7VBEozRurS8umklnVVclkVhRedGzNxFN9wI4UXfYkN1y3h0Na6mHEWXfmGM/HoZVBb5oaLfXX1yJYKw/FCPy5E4slXI7nl8a6rfn/suKFrc/p81HWl19X+P/+Bgqq5TLrues14lzdrJpXP/5o/VJ2HECE2V67/IGoNNdFbIshjSeeueg417Efami1Gy6hrN3pdqMcPfbnO/eHDMeGzzz6b6/6+3lAW3+HDfHLPCtoa6sEpSp9v6JQULUSUZyZHzNyQZNmHG8bej2RZAexiOmnjstl7dJC2R6rp6utWlqXkahUAuz2dyeNOJ7NqLNnjzyAtO4eCw34OO0V6j+5DSB8HQGqOkxO9Ho5+0I49hgmrfusHNYw6nO75kbLzuGXFzQqxAWlZqbp6Ge9u3MmSJecDKCSnrMRNTU0dRUVuRQlvvXVqSY0RNm2uZ9PmelauXKdYj9QoLHQhCBW8u3GnYm2Sz9JRY8GCSt7deDlHNngoEz+J6iKBnhSCoppANXFBq29099V/G0DQp0FsIzvyYY32jVdPnmS5dXWvDHL6sv2LYDZRqa+Httaxbt4CZe1aRuXKFzj0wQf0tzQbtn2Q7nXV72fsBXNM81XuGcmn+jHjzrvJmzXTtCxmg8W5P3w4hlzFCx8jg1pO1W+NvgzSiynPSOtZrysjXevqUDBSJtq6UetWiZMgntF4lnR/NZMd1d8GaHynhtbyciq/Vx3zJm5zu7lyy1Zql3+Dva+tMpQLAfa88jJHPqzh9Fu/rrH8rV84T/k9tmI6Mx9/Svm7afXrfL7qtwR6vBQvXjIicgQRgqofd9Rjgbr8etlJYLkxeB5T9wZ926yvBxF5b+ktFK76LZe+sFIhL0FfF39bcDECkjX3sj+vUV4qTgXsY5zY7A5ufPkFGmtqONjvQdx/GGt/DyeaDxOxnyWEXPQxV1+lIWgynKeXG8az2WxwwRwGvMepvU+y1CqsXK8nhv+SctLItjLGFqaHqJuvKPgRPH6EhuNY8x0E8jIRhvqhXxIzkCmRof5QGI59zlFvB7a+DSjmOhkyAY78DOQhWW40iNPxE10byqRzbNQWEBkLFlTS1uZVSIJsCflP1QnF8tKVvIz0z0Bb23GWL3+Ci+ZM58GHbtM4LTc3twGwcuUaVq68X3Eo9vmCgEhNTR2LFs3h6Wfu5J4V0Lm+i7zWA1LkRPrC5Hey13hx5Geo7uugWe81kwWDv01kMjI/7338UWr1DsvJQi9DBIv/XqOQjJgyxNGXABzfWkft8m8oFhvZnNzf0hybn16fKhj5cCSjo6m336qZeAD2rnyGgtlf0hCeptWvS6Z5IKP4NAovOlczmYGkWyBmopTvA5DjIP/s2XTs2mpcljjkWONzE0cXAC9mpWieqydwQ13pEa8966F6VnhZFQvWbVTyiWdS14fTl1P2yYiRy0ymRH1Tl748Edf+oJojH9Yw70+rNWQ16Ouic5fJuBeJ29/STOeBZiZ+qUrzuNXEoTwYDDLQdJDWd2oQgeLFS5Lun0YkzHR8kPu+IDD7e/dT+4Pq4fUfo2fqfEQomF0hLScNY4xsfKcG7+wLOO/pZyi+4UY2XnsDQVEkc0IR5/7w4Rhi07l9B6ETfmxOp+kzGa7p5Zr6a9+ymdZ3ashNy6FlRz2Trr2JnIbPyb0yC/qlU/OD7X0Epp8d2z7161ECWM+awSU//KFhW05ESsrv+BZNr7wWqy8w7n8RdH22l6DXax4AsKala/RgBufkIlILCzX3xtjy6fEc1zgd2/vBG7Hi9PX5kN1xZFJjj/jSCCGRQAhsHa2xZREky44o+MkU00lPt+LJ8kccipOZSBM8H8pzsbekirWRHU4ytm9vVBx5b799Efes+IXiDHzvfTcqJwq/9dZmqqtfTqi0kcDtLqCt7bhyNcKmzfUsW/a4xopTVORm6rRi5s6bobHsyLu99u5uUpam7r3vRpZsruf2TA8pnV2J9Wn2O0m9F15WxcyHqpPWgTUtXfO3zWbjnB//hJlJNFQZiu+GEXkweWPNnFCEv7NN8ik4CeKcWSqloy8DJBFfFWbva6vImlzM1AceZP9PnzB+U0b3W4ek81VP+A/HThZNq1+n9r77KLxQO0kDygRRMK2CSYtrNPHkSUl209Cnq5lcZOjkKpgtOQb7Dh/WECl1GfMvrqLy4WoA8i+ukupffiNUw4hUm+nKJM7U22/ltFtui01bB7Vf0o5HqmPySTTw65/LhMhMLtPJIQlio8lP9bz1nRr+WHYm8955D9eZU7HZbPxt3oKoL0ictmhozUpAPmVyb4pkSGWcsCU3zWfywq8xafF8EJz0HWpir3o3og5JWQx0+SzcuB6Aw2s34KnfztEPPuD4bhN9Rf4WBPD1dfPeHZIVp/WdGiqff5KyxYt5tbycS0F5aWha/Trv3XELiFJf1ZObw3/6PTt/ITl/25wCS5ubNc93PFINAvThoe4HT9D33POkdHaRWVrEWbcsgxwHWKBANQ4Hg0Fc08u59k+v0+3pY8B7nL66PQAUVM01tCrpSZYREfPU1Uu6SZKAy9h67wpaP6qJ3hCg5Ir5tDXU41M59gb0O5SyrZxRVMa+XZ8rxOXCu59k6vIVmmCZjMNZdAZdH9Vgm2bB4gnjzQRBTCdUWs4Z08+medd6ejzHFVIjkxy1TEa/AwFJJ6LgR8ySZLCrJyf9NyQ091VvwJq/I893j59NdbU0OAWDQZqb2xAEgerqlzROvJKV4xfcvHShsivpxRffYuXKNcYaHwH0u6UAZTnM7Xbidrtpa5MmStmatGlzvWLFWb58CcuWLYjxw5Gdmxsa25g7bwZ7d0v3fb4ghYUuqquX8fYP2pjZL3VExYHS6GowSKp3baidg/U7pOT6GY5zoNGAkjdr5rB3XsjZx+zWivytfzM+65ZlsW+AI4Rsfo95O0+gL/3Or9rHqqUB+LVV2kKYhDcrm6Y/oK0/dbKI0m61wdZGxUTeuX0Hn9wjdf7Wd2ro3L6DvFkzsdlsTLruejJ/9AP6W5rxebwcXvtXxTzd9dlehbwIglSW8ruWK2+R5d+5n61PPyGRSd0gpj7O3D7Gieu8yrhtyPC50cSn1l8cXcUjkVmTi5Nqz/8Ih3U9AVFEFGDe32uGnZ6+7Kff+vUYawtA24cbcZ05laCvK2YH2qffXhF985aRoC0mQywNLVsm/SYmrKhtQ4jgyM/lov9+BQSnEragam60b8UjSnI6qrw0voCRa+aEIiX94htupPiGG8lZ/TrHl94iBZHHU/0LF9H+563fxaWR7d7BYJCpN9/Ke0tvYWrNuxRUzeW9yO4sR34u5Xctjyn7zMefYtDjZe9rq5h9z/0gRD/zI1ttZJlFQSSrX2TM7ArsY5ym45/sN5d52UIykUjJp6t+z9XVPyDzsoWGcY5vWCdZ2yJ6rXz+yRhys+37343Rb9LkFTTt5cx//x5VF8wh6Ouiq34/n/36MT7/dANOpHP3zjj7dMrv/jUdu7ZyYYWPjv1b+PzTDeDxxfoKTfQz/fq72ZidQ3DXm8g2ovR0K9ZJRaTmOBk/0cmJY70E8McSmwgCmVA8aRxHDh/T3JNlcvaG8GZbsSuOhTK71w08MZ7YkQYu/y0K0FlYStpFlyvWDa9XZMUKaSv3ypX/xc+efJ3q6pdYu/bHBINBnvzZN5U3pvvu/dUpX4Yyss40NLZRVuJmzZo25V5ZiWSZuXnpQu6970ba2ry89uo6Vq5cozlnR4Ysa3X1MtravEydVszixd+nrMTNkz/7JosWzeHdjZfT6TvAhMYDiqOkPFBqrrrJQLMtFbQTtr4eIo3zVKyZDn/nhZao6YmxUXojXec3g5FfiEJsVORRTbwEVWBRlCw4MTtsZP3q+4KJvjX5yffk+tS9DOx9bRXNf13LeU8/w6TF86n91r8z7Vt3KWnJb2NBXxeH126Q3vYiGGg6yOE//i+Trrue3l27FGuKDM/+Q+TNcilx3edU0hXZZouBPGZ61MPQT0KQBnO1/5Gg/Gc+biph9G+Ow2zP+jDtWzYbhtP7RyUyuZ/o9cT2OYZPpozKoN9mHBNWcMbkYx/jjPGHMtPV7X1D8YVS1bvR1nplTELV9g3C6scuUZAsI4fXbtAsmxbfcCOOe1YQ7OuOIdg6sczrXoz2pYJzp8Q8P17zrmZ7tsbXStXmBQFcl1VpfG9sNhszH3qA5r+uZe9rq9gb2VAwJAhctnadoW8bSP55BVVzqXn25zStXUPxLTdTvnQpOx6p1vgpymN5Z8N+yq/5qrkC0Jbdkp7G9e+8jyAIpn1h6gMP0rR2DT276yi5+VbK7/iW5vnexx+l9aOaWF9KzW4Cc1kEwJafCyDVnyyjw8XYC+bw2a+jS0lOICRM1rwE5X9SS/vWzZKlSoejR7yU/n0teYKPz4mSkb4+H8Lbb7IvIipOyMyE/v7oVUbWEHiM5BbTI2N91Kolf8JB02DVby7yoKRp/Lq35LdTZvCBigi4XA6WLDmflSvX8LMnXwdgzZofSUpS7fE/lcRG/nL41GnFVFSU43Y7cToldu1wyH4yIIoiXq+X/fubaWvzKhYjt7uAJUvO58GHbkMQBFavXs+LL77FsmULFJlvXiqxafWBf0DE6uPF7XZy7303ctO7W7jN2YIgivqxKXpV6xQtgVTapMEblUC00/8zofbBUBM1tZyG4fnnOK4p/VYAV2SZR++HoSZZwWCQrk9qWXtxFQWRN6x40C/ryYepmaHroxqlXmU9+TokE7kjK5dgXzflm2qV8MqySuT8Gr1FTX6uf6bZ7eBwMem66xloOijlr+vLoGprw4Syi9HgmZymeqeSUZ1ryD2qtj7C9tz1UQ0bL6+KpifrWoSbh7QTvmxy14xdamKqmiDVk/w/4wUi3nNNHcKwdKX4+xAlETHP1C9VOqIeIwta3chj1t7nno7xCZty61J2PvVs3LFK3S6N5JLbVf7582LiNv91rVK2mLE0cs3NE5jyw0dilkcAWjd9ijg0oMQfM62C8194OcYKoifyxTfcyKTF89n/6qvsefaX1EWW6WPIoQBBUUT0HyNZBL1e2nf9VaPLptWvK/nK+lm4cT2b/uMWZv/sJ5q2075lM7WPVWtf9pCsUQtfepGWHfURYrTfVIYx0yqofP7XHN/6IbsffhzX9HKtPrZKLxOnnzufzz/dQNn4MzRjq3Oym7Gz54DHF9OuTxzr5UM24ztyHGdmxMoCWLIcTFp0LaL/GI3vbSBTfpYJopiOY2I2uRYrRw4foy8FcjxwpPMYCBLZ8adLfjYAac4CwsAY2qOfI1FM6QZveKrHMc8b8s/jO0/8pyZsY2MrK1euYc2aJ1i+/OcArF9fq/inACdNbOTt2XPnzVDIjHriAu2gIR/e53A4cLkcFBW5AbjhhgXU1NSycuW6iOPwGqqrlyEfLNjc3KY4PEuWqYXKV8mnTivmwYduo7m5TTkfp7DQxS0rbmb/zw4z7cgnWj2qBtYYXcr6j4RT61h+nmhcUzui6pFRfFrMABQvPGh9OfTmYrUsRnLJ4Y98WGOavpFMGodYHXp069wyzAZ+vR+G0bZHQYBzn3om5k0/EfSOwWoEg0FWO4UYmeSBPNghvdHGm9ROxTM9qVZ+C5KZXr3LBmDmQ9UaPcg7bWQEeryGxEjdPvVnecSEU5E9tXzyTiA9ZF8kGXqZNekZFdhETnV4o7bzL3h/MISZzpKBpi2Y9A01wTA6DiRGFrUMkR89u+vo+myvhhhMuvYm9v3i2bjyKWOdmcyR/wpmf0kTpnP7Do1VwUi2qTffKk3+OitM0NdF/Y8fZ98vnmXcxMmM+VIVBVVzY8YhgNrl36DxtVVc8Bvt6cU2h4vyO75F+dKlHF67gUPrfodnw4cM9Isxfa1t4zZNm9XvdOvcvkNZRgr0eOlvPsykxfOxOVw0rX6dLXfcgn1CkXJPXsq66Ld/1TrG+7p479qrY+ZnAckCs37FfzGmqIi8s6czaXwpA3mxlhV1/8+bNZMJ+XkxTu8AlQ8+Sfkd3yL/p08oFhpZFn/tx/Q3tJNfTgzSxomASGC85BMjv06GnJk071oPgGNiAcg+N5mSL80ZeedRuvBqPM89DTTT1w+ZOWDxQF8KEPDT1yc5FafTjzMnG3AbfDssUe9RPRcF2FtSxaNV2pI4nU4umjOdJUvup7p6GRUV5fzsydeVM2VefPGtERMb+XyaysoKw88xwPDM2w6HdF5NVVUlDz0oLzu9zLsbd/LIo5IPUVeXT8lLJjjV1S/x4EO34XQKMdvIFyyo5JVnJlEu1EvnDMjQExQzXY9wZP181W+l5QgDuC6siunA8cJDrKNqMtAvQXV9VDMsmeqS2F1leE7ESeJULp0lTMdA4MHWRhpeWT2i/IxIYiIE+7pj6sU52a35W7YAaSATNBN9yUUz1adJZQVamulqaU4ot5k8/yjEI9sxyHEYWgmCvi72P7dyWPlqiLxBGdX6jbcVPF48k6QT1rERDr36Ei5VvnmzZjJmWgU9stOvGRLklTdxcszRCYf/9HvT5EpuvpWZDz2AzV0Uk17XZ3v5+BvL6NldR4XB52jUkIkNwCf3rGDAe1xTtzLJmHTd9Zq+t3flM9SpnO71/cxhsAlErutwTy+A1FZyHEo6gZZmtt77XWWXp5K/nIevi3XzFsRdBgy0NNN1oI0uagFwXRa73Kq3To+55muav4NeL4u2tiqfNZr6wIMMtjZq6m7fxhq6jn1OscGylMUTJpxjwRnZKSVbbk4c6yXd7yecEw2bqXJabv60huZPawhbc/HZJGtNGInYZGZKJMefnk4g4MfvT6ev7xhZWY5hfUQ1Bp2uUslRV9Ca9F0uB08/cydvvbWZysoKnE5B8bORrTrDxUVzpnPz0oUUFblxOs3XJEFy8PV6vZrvTYFEusziOhw2nn7mTsW5edPmem644XFWr/4RTqe287W1tSnOykZpFRa6mDX3Ao6v30lp64GE/lv/f8I/YwnqVOWhbJE+hWmOFL1tPXGtXPEwttczbHKjR97EydI3q5LEySy1nEok6/B7zo9/ErOFtWPXVs1EZIRkyLaMiu8Zh7U5XBz50JzkjwT6Fwh5CWI48U5l2I6/rAEdqSq+5Wbq7ktAbhLklf+VJcZ5meC0W24zJDZ60lH3WLXhS8FgayNbvncXrW9sUO6JQwPU3fcQTa+8FmPl1ecj73Yyg36ZJ9s9hskXX4z16CHaOyXLTd1jT8TEa/7rWk67ZbOhhfnw2g34PF5SwjkMWYw8UiJIsB6957mHmPbdn5qe/bPnF78iZ/osjc70ByAOemoRBOMduOEci0JwLJ6wtCRlcZDu92mIjRqZmSin4ljoJhMkyw0SycED4RxI98jkSMo7HPZFl6V0vpMamD1/O2UG76l8UvRQL0OBRDpkR+Nk4XYXUF19W1xSo//mlNlnGtS7qGTfHL3VZdmyBZrdUw89+KsYx+IFCyqpqqqMu5785M++yaXvbuHfOKC5r9dhsoOSOlwyxjV9HicL0+8pJRF3zDRjnxYjvxWX7iN6Mvx1tQz0G+emb5++j2p4LSslJlyF/uwOjw9BiJAcFdTbo2WU3XKDpiNrlvQi58kkQrx+ljdrZswSjBlO1spklH/+V5YYE/Wr53PBY8/x1jkVpvqPl67ZM70uzK5GyMgUGPeVr9LzYU3SDr9GOwNd51XSV7dHeUM/GeRNnEz5XctNn5/z45/wQdV5w3rRGc5YofbVSxYZxaeZ9jf1sQBmUMvTeeSQsuNPRtnixeyPQx6TGT9KqrTydX22l84j2k/JqNPZ+Y1buWzrJxBZTgn6fGz6j+vpipAVddgtd9yCY9IkxkZ2A+1/biW7n39OWfKSw46xwwAiJ3bXsfHyqkif+J+Yc1yCvi6lLRm1Z9fV82OWybyH2mh87Q+U3PxV7EMQ7Nuv0YoApEX8YMwO/yy+4UYckybx6bdX0LPbD4hx245ZOxHbB/n48pLAgAAAIABJREFUG8tiDjqV0Xt0H4de/jXZZ59tSICCwSBHj3xBzlSrYXyZ2MgI51gYM2Y2uaXQ1FBjIpU+DWlJCiRrjSD4sXhgyAcpoCFJdqNKSAQB6JpYyKy5FwxrkF29ev2wTh2WD9YzIjXydvNfPv/miL45JS+LyctcMhGz2Ww8+NBtLFggmSA3ba5n+/ZGDQmy2Wwk+OA4NpuNWXMvwLdhC64jrTHPZT0Pd1Aaxqph0nWZDBQflWGmITA8nxazCX79wnmETN58zSbHZCAC+++7D3lIEXTP5PTyL65irIrcyEt6RvmZ5T8S+YyQTJ8zHcBMwpx15zdjwpbftZypDokMVvz8f9hxxy1x84pXrni6jXfV44LfvKL4H/w5K+WkLREFVXNpPQXkZsYLq0x32YBErorvvJt9v3h2WG0zmXalthiZkRKjePIHPJPVoT4NfV0d/tPvNRNwamEJadMqTNNL1A/yJk6O2RLd8NzPDWWR73UeOcT+51Yy9YEH6dy+g+1Lr2fC0tuo6nsLiD0nRl6K8ew/RP7FVVx6cVUciaLwHmrGiYh/zz7GXH4lIFlQZDmM2vOMm2L7mHOym+v215FaWELT6tfZoRvjyo0OUzTA2AvmcOWWrTStfp0vHn6IziOHdG1HwD5BWm0IxEnnxO469q58JmZ5NejrouuNDQQdmBKgrk9qpbNrPGEmzIo9jVm22Kh/93q3cvaFlyOmn86xXZ8rYS0WB35/KMYKFDpNIkfWg2GEHD8Wi4PsGdKLpbd+F8GWblIcEsmJOhQTO6gYDTTy9SATePChxIduyfD5gsNajqquXhZj+ZGxfXsjr7267pTstJI/w/Duxp3KCcUul4Ply5co8srb2IeLm5cu5I8bVuOi1VCH8XQ93EEfIDcFfCbpJhN+OJOvHEadTzycrLVBllWflvp+Mu1Xj2T1b5avUX5macaTpeuzvWy9dwW5KdA9FC1zMr/tU2P9LMzKYdTXC2++1fD7OurJuviGGzm07nfKG7BaF/q09VDXkZEcZlejNnWyy296HFr3O41cI7lWfK86KQvS9O8/wNEPPuDE7roR52cE9WnQ8fygjJBsn5z4pSr2yzsAdfLIf5stTfnefismPXX/MZJdwNiaeOwvf4jbrgG+eO4JyHEYWo1k8qXfdKK/r4a8G0h/r33LZjZeexUC4LiwitwU87l0zLQKw7Nr1EvBkxbPZwcwlJVL0ZcXM/OhBwz7Zddne9n9k+8YWo/kc4A6t+/g+IZ1dOzfwomtnxMIW5hb9VWOdjRy+OgBxjvyYnQu18kXP3qIssWLNXl31e/HmikQDIsMHKxj7+OPxpCuDvWHf3McMennjLdotnGHcyxYvPDRX98wXJZKG5eNxWuF7uiyVc54C56j0c83hLxp9ISbKTh3CvPu+Q9OfPEZH330d5CXpdQwevM3Yux7S6pMHXqN8NCDyS1Hud0FPPPMN5XdTGo0Nrbyy+ff/Id8nkE+oXj16gdwOBwsW7ZAQ8Zkp+LhTNJFRW72llQxs/sTBIPPisTTdaJrbkrsgGCfOh3HEExUTX7yb6MlIH14/TUe9G0iERk6WR8MtTzqtPRyJtN+jZBI32b5GuUXL38zWbLGCMpBb+pelcxvo7f1eOXQh5n50AOGMuk/FnrBY8/xxsYLAONdWWZQ11EydZE5cTL5X1liaE3SY/3CeVgONZE2+3Rm3PRNxlx+JUFfF2vcseNH2rSKmDdOz4YPNXIN9+q6sCppx3ubw8Xc36xk/WVVCJElvuHmFzf9BH0smaWmRDCTRwD6jxzSHFQJ0tLUe3+JJTf6/mMku77+m1a/TshEb2o5Qv1i3OUws/xGcl8ArKTj/+gTGgiTQToDhMnAQgYov8996hnDNPRHOVxc8wk55ZNNrYBNq1/n83vuwdfXyYaGJRQvXmLY/vJmzVQIW82ti7C/sYEPfvcTrKQzgJ+jY5ycrZNHrpOhvnS8h9o0luqxF8whvaKS0Ec1BB3Q8vLPYvPNcUStMwZbwT1Hw1i9GYTDPsI5FnJCFjzOAXBGLToywmEfVi9M+tK1dO6qZ+BgHeQ66PnIhyVHssxYPEBONxZPN11vNPPhhg8pnF1JOJyPxWNAbpKBb2KhcuJvMmht7UqKkLjdBbz88gMxpCkYDPLyy+uTsvycG2ojy++hL12iep9aYwc5M0g+Ni8pPjYXzZmu+N40N7fhcpVEzoJIjuC4XA7KStx4Gwtx+WKXpk4G3UOxHS7eLgkjDDf8SHHwlZdoWfsm7XX1itXBzOLw6ZfnMZCTKp16Cmy997tkTS7GcqjJMG21VeCfiVOdb2phCeXfuR+IvikO5zpSFN95t+lXkfe/+qrmDS61sERz8GCySEZXEy+pIv+mrytLTvHQvmUzB195CZD8q6yZApf9dz2yE5zN4cJ19XzFyiSj+Jabld/BYJD+d9Ypk+VIkDatgnl/Wj2sOOlTZzHnz+vZdHnViPMdKfY+9zSfr/otuRF3NLkfyleje/LVc8C4/+nRsHatZkkjtbDE8MUqUZtwXFilaZfBYJCO3/82TozkIZ+2O1zoP3Vgczopu/xaBvIcpOY4meQVsJRIihzsbCWlZyyDwQYc1yxljMmyvH4LvZlfzWBrK/vv/jYNf/+Tci+lq5EvnnuClldfYsYLqwyX/gdbWzX9IIQfgWh9qyHXScbZkw3TmvlQtdJuw6fNink+dfkKWl99Gg/HDA/xk8hMJrmWbDzdx/DkSPe8PdLuKecYq/IbwNHnp3NXPRcs/Trizhp2rltDv8rCE86BzH4r/TkhgoAVOPJ+DZaJDhwp1pGRm4NM4LqKcs29xsZWVqz4FatX/0g5U0ZGXV3ihiRbbPTExucLKlu0zeLJvjRPe3dzeom8oigdnvT0YQ/vOs5IpliAsY+NGoIgfbJBPtdGjXtW/IKp04o1n2yYO28GmzZMwMWpJTdGjfP/VLSqnOyORO75gIkGYbuHYN5/v6JMcGV3/Re1l89E9IYMQie2MA0X1kwhqQnvVOc70gEXJKtP+tTYwSYR0qZVMP37xlYbADw+djzyuGYLan6SPgkykv28R3unl3OTWHL6+5ml9OscSkP9IofXag8/m/1vD7BeNag7svIoX7pU+dtms/HxM/HPYYkHR1YeF/9mZQwRU3+YVUbP3/+m+GWA9BZ80d9r2HzNgpMiVzL+rHKen3hJFef+1dhv7cTuOiyAZ+JkAHxHDikEQ000fEjWM8fS2zjyWPWwSLzv7bdA568xYfFVMeES9R/9d/OCbc0ceb9mGJKYo6t+fwy5lJeVjPKQx4SJl1ThUuk2PWJsyOj0Ie7ZQ20oiK/GS7inF2tvmBSLyJQnH6bA5FMKEDm4b4vxLig1etuO477nTtz33GkaRm9pBWhY+8e46aoh10nx4tgdaiA54E+8pIqOj2uY+JXYj2Pz/7H37uFRVefi/2cyk7CTScIkBBhuMjGg0cjFpmpSoIZjrVAvpdqjWKvC0bbxtBa8VahaY60HWxWh2kNsTw8gtaQeLxyRglYPUcRQbSSAgSCEhEvIkJBkchmySWYyvz/27D1r32Ym2n6/5/c83/d5kj17Xd71rvd911rvftcNmPnURrbfUUaGZ6wprislgqPrFBfNuZ7D3fX0152ka1Qf5IwlJ9BOoHtIM3A8jhQCmUM4jtTxznPLmXPdjQyE0gBZiYsMKYZNpjIuuFNT6MuUyXSlQG8/fZlD0TU3EtoJluJvEcQTLGuc5/BEoccQLzG1wGsybAAqK7daMkIEdUeUCC0tHZSXP6tbLKyeJCzeEaVeuHmvZxp0wCv9DYxMOUxf1sXce04b73YkLF4HL23YSnGxtRI5nU5L4yYcDnPFlReb0peVzeRXznOYI/1Vf22BAUzXGmBOa3z/e19rkCwkoss+I6aFFMY6OI42cbbZz4hC5VDGURcW8U/bPuS9K68hPHjahFK35saCd8nSJkkw6obbSTl51NTBWe2KM355JiO3eLRYdbjJwqS5ZRS/vi25hcZRGibNKGbaC79J6CXpeGk94ehhaE1VG9n/wCIu+dP/xMUtgq0735DWsa/ONKVhBUbDRoXPfv6Izrhxz5rNpLllHN9ejSTBpLt/pKvrQEsjQcMWajsZGuWXOT6L4j9uIb1I/5XdVLVRMeQNxk3NqtWUAplfm6/xY8xXZjHvnWpNr+30Y7h6DNb9QuakyfQdP4oMFN66WDnGv2oj9b9eieNQnYZ71PVf5+Lv3KXR2rR5E47oGiEjX6zej2+vptgwyFoN3PE8N6MvLzOtYfrk8RWW5Rnh87R7WVbWFBX+ZBmXOp0MtDQSOOpnx1VlSBKMLiiiqaODMzlpurx93QEa31Km3IboJ4V00oA0+pEdMAQU3nprwnap7tZUd3pZtUk7j44KRpnXV65i6rXXEvyD3rMo8sVqzY0jzq4/p9OJb1kFXYuv1X0oiDDmK7PIn1pmGZcz5CBAhE/ra/CMOh+/8wQpgQw8OSlcNHsBH3zwFoFuRSsCEcVoGZmbQqi3n13rNzLg8eJxHNMZNh5HCqFe6MvUGzuZfSmkQFQZ0CuG+meEoBOyfeeaBDBhwijTlmlQ1qok2slUXr6AmTP1ZxN0dAR1ho2yJXwRq1bdpW3FnjnTh99vvi/mVyM8dA9NIbN3Nwcbv9BRPhqoF22qv1ta9BaT0+nk6qtnmRZBu91usn3nEhT0WzwR1IrH4v1EEvo04u//m4aNSLvFHY2x9NjTD+Y69B0/yo7r59BVF/PUpRcVI135JdvOKh5+uzCRPoALn3uRS37zAu7SMpNc4pWr44Ek8EdIo+bXrgewoGnMV2ZxQ+/g5/q79I2/mPgo0masz4hpMyl+awtphfqdLB376y0Z1LBhA58sv5/9d98GgSHTYKWijqcHYjqRR+Kpwoc2b9bSNlVt5KPrzMfu29Wt7/hR7ah6Fc599JdIEkSmzjStD/jk8RXma0Tk+HVR5XjeY78xDTb99bV88r3bLOufmwr/s+hmAgf1nrn0omK+vHkLo88vjpVp0A8r3bHihwiiLoy+vIxv7NqlbI9GqdO5180jHA6Tv/BmrvnwY0bdcLvGxwt/8FOdEVb043vBop/SjRcCHZIU2zUEihFplIsd3SqM+cosXR0GWhrpeHV9jA9CXt1vG+MwXtkqvoz8c7Uy0yYUaAdayjK0NNYzsruP3GC2CU+a1M9Q9GyVIfpJk/o1nTLyAhQvnhGO//yX7LiqjL7jRzm2+W3qVzxBf32tNeE2YGz/zQ88wObCQo7vqdXxSJSX1fhRvOFl00eACCN6u5i46L64H0Uz11RyJnDK5LXtSongGZlCZ8RPV9v7jMzuZ2R2P50RZWz15GTjGalsI1efZEPvpAgZOQNAs4bLlaU8u0knmJVOZl8KyENcVjYtWtEh4eJMGf0ZP7LQ8OVY4zruGDWs9TabNlXHjZ8zawYLF+rPygkGgyxatEIzbNQD/Px+5aZx0WtSv888F3xhrky6s5++3oupSnVy6ZCfC3NljrcoSphomupQo1/3BPAaFihu27ZLN/0UD6YWeOn/NJ28cL++cQo81pRODQNNC3U3iqtIO3tNp6ee2LCW0PGjMQ+J8BxdanZXf3TdlbTXVNtuzfDdW6FL33u0SXd/jzgw2G2XGj23TPt9fHu1ydgxggSEOnupvfVG7SumvnIVGV0DnI2601XQ7juyoMl4C7tdka7xWXzpsd9oX/0TvzSDZmPdDCDesyXKSjcARcvUZCbwSaX1HwqC18HYlh376ggHAqQJ7ai/vpbG5ct0bncVT/MDD2h64RqfZS4rDn91dxgh8MRCt4N/qOKToydoW/8S4d7TyMClxqIMhpH4+7OfP6Jbs5NX/CV8jz/FuXPm6HD019cqg6VBR7QyNKEaZOhJ4cKn1pl2bJ2u/YTa71ypl7Oh/ml9Mo3fvwPPW1t0A0Ne8ZfIeWsLZ/71NoJ/flunHyb9swgT749yjc/CXVqmix/zlVnaPWqSBK7Rk3VTmOFgB93bX9PquPvO27lqf+xsrvyFN7P/gUXIgSETXTpjTHg/Vf0u51z7dT6+70FaXlrPpLn6k8jFQc9Kb4zTK588vsLcxtW8xrauERPf0Na1Qwnc55yji27Z8ZGGawAI9p5GHjB7jo0yMdJydOsftLrvKr+TrMn52hSlyofw4GkNx/7ocQujLy9Df17w8EDsvwbk9Cid/RqNVjBtxZMmb+SHP/0xk+d/l3Ou/Tq1Ny+k63CTZiirUL/iCQp/XK7JzOn1ce6cOSbjKWfIQVdKRFtn43Gk0OVR3j/44C08Odna1BQ9UQNnIuScULZ/q9NR4pNwCo68TDy5hTR3NlD/yj4ypRSQwKXrBNEbOKLw1YE3ZZKE1xv/kkERNm2qiRt/3wM365QjHA7zyENrdd4edb3NfQ/cbDIqRANEhX92djFwCMLpvXyUXsjraS2EW2WcOdn8d8YgmJ09ccHrHYvHEyPS7w9YGlV2UDQtn7Nv50Jfi67xIcX4LXaMukYpfhlF/0lA+8Fa2vfU6o0SA27d0w5sDBtkaF5ZYQq30gkz0TEofn2b9vtS8chwmym1qy1uOC4qXwrlS03GnNXZO7oO2NCBGSEj/1yK//gOOcKCx/SLLtAZAlZgd2ePZHhqshMNQIEe443WxrUzqnvcCkbNKNQNACoudyRC79EmU5m6DxcJ3VqacLCD9//5JnKm5JsLMvAh53z92p62D3fG1TONV1b9Cno5tR+sBVWn7Qwm4wAm1DPUHjvjRAWr6xD2LV+mGyx1sjYOVFEaXaMnM+e//puMIv3hZQMtjdR+52uETvZa8kDUlfaDtWy9ch7z/7JNJzunexRl67dQX7mKE8/+nFBnr66+8cDpdHLhcy/inXYeaYUz4+/IkWHirfrjO45tfpvQyV6Np6F2xQMmGiO+f/0ZzcaTmmW9nkOMj4E3tvDO9tcUvBZC1OmERXzDrysJ135K0frnAeje/pq5jYvv4tPY3pP4iHDlZpm8kaeq39WXEddSwlKfAYKvvQ3rlWmijlfXkyV8MFq1jVhF9LD32zdz/L1XbPvrq9v1/eaIaTNxjvTgONrEwPE20qR+PY0WcMYh6Qyqtg93Enztbdq7Bmh/fjVd7Z/x5dd3mDw7zf/+cyB2JEFD9M6pIot1gDlDUUMl6plR30dm9xMJ98fW3KjPHguDBrRnIKWXzGNBurLSmD37Kj4726dsfW8/isvU8cYbHCVlMfHVhsXEoCz8Na63CYfDcaek5syaYVq7sm3bLtvFw+oUlP4qBD3+K4IHGEgbQ3/wNN/JLWRlYB9pBSHSelvY1zaZdZ5ptvSoMLXASzAY1B36p94wDjFvkXjnlEpXc7OfQEDWTbOVlc3kd89MZILcYs9fYwcbz2AhTniiRmiERPRYPVVIwnga7tbKROCORMyBydJuAKszU3q7ZZ33JS4kyytZ78Fqr6kG4OOrynRpjd61Qy9WWRqYyHDJW9W6Dvnjb5bp4l2TJuuMla6DtboBuOPV9Qw8shynx0PtVVcTaj8KU/KtjU6hbPc39N7KEb1d+nRxeHXZtr9y6u2tioex/ajGG13dEhnjVoaiQGPzygrTadIi1Feuor2m2kyqBV51oBp35xJmPLzc8hLGuptu0Rs2djyIxjsO1VF71dUUGzw4oBhi6mWM7X/8T9q3V+vwub/xdUYXfoWpty3U5UvmIL72vR8jSZjyfvbzR0x1b//jf+pwFv64nBPrnrGup0X7Cg+ehpPmcDueWMHx916h9ZKPyZmSby7Xqp+0eyaQBxKMnHu9Kbp7+2v6ALt6JOKHBJ8sv5+u/1gdH0cUnKl5ODxu0z1PmtfIoo4DsrWPJ3XnUeQRR0nTWYYx2oxtvXHZUnq+o1zsGQ52sPvO2xV9iOrh7D+8Tub5+rG/7q5ykIdoefMFipY/xCfL76d9+3NM/ObPbD9gVe+N8bcKOs9NT9SQyQZPT+zkY9XQ8ThSIAtCvcf56+ZTpM8s4ZJ/uZWzn+2P7payG7xsrGCjQXLv0uc51Kjct6TeIQXQ3OzX7WYygvEQwJaWDm1xsBGKpuVTV9egu/27o0O/JO3SIT/3niNzsDHEvZNmsDKwj/wxufSf6KXZM5l7RyQ2bFRoaPBrv+fMmqHz3IC1x2jdum2a4VNYeJd2irFmGNkZK/EaSLw0IiTKGw8SlTUcg+cfDEGHg6ROV/ocNPbX1/K366+0rKOlUZWoPKHcS9/4y7C3bxctf8j2DBXjfLbxy01M53Q6lSnIzmodbZ8+vwbXoRbFYxLVJ9PaHRQPhppn6rXX6uIbq6t1HWa8L1z17I2i5Q/R/dab7LpnqWLkJDsgYUhj02YaljzM9FfM6zzCwQ4Cv3wk/keFED7qhtttD1IbaGmk7qZbFN4lMKI1iMa3H6yl9qqrOXf1v5vW7jiFyxjbPtypGMAofJ1ecg25d5nP/omnS01VGzly923IMowyHNbY9uFOXO1HCRl42l5TjbyrBves2RpNExfdZza0hTrF7TMSgFXbkgC5/Sjt7Uf1geLTlMH8tNXHaBpPpmQ656n7rTcJnezF99MKwrWfcvyvr9nXw844l2JktT6/Oq5eO1PzYMZFjHfnKSj9TaZ70IzlRabOZPzllzN5VBaufLN+OvbVISfok6z0Zv/dypUU/pXP69rmpMu/rVuLpfJJ/VAbahrUDBt67PEDOmNG+z1ROQdHe1eXN2UDPeBwjoUciHQptoTquVHBlQVS71nkv1Wz69P3KVnyU2VaSlxYp3ZkaqemC5PQzo9RobZWWXC0atVd/Oa511m3bps2bRQIyLaGjdFgCIfDPPOU9cIzgJkzC3lpw1bKymLbCnftil3KdumQn+VSmJXHJN71XMBvRuzDVxBi4FAbb56bw7pAoRVaS7jiyot5acNW3bsqqHA4rHmWlIs5zUNt0bR8FI4qcR5Jpr6gjCvbhR1T0bS2PBfi4sklqWeiCg8Xnw2NVlC/4gnCtZ9az1cPA1xFMwjV77HeihyPR8Sevq9ebou/+6032fXj2zRXupHvlkZVArlpcYbO5O+xEDxZHLp0Bhq7/mN1TDds5CfWw21xknFoxwdK9gR65hqtXy+V+bX5ZPbfTMDAJ1O/YwQhjVV7SJ0+jqmP3W9Jg9M9ivErfkvfoz+MyVmgXcQ7+vxiiqO7xIygrLH5Wmz6yELWliDwv/1gLYPfvpxTDz5umjrTPg5/cp+WXgYOv7SeSy2MG1CMrZYdH3Gm6YjOID7TdAQZ8OSZB/HmJytMfFR/79uwjpKocQOK9ybw2ycJIFvLCobf98RpW7LIrzj9nu1YhbUsxDVgodwszv/jO6bzdA7+ZjWjZxRrfCwKdnBs89ucCZzSTf/icCSkw0izETJHevjyN+/QTg52NZ8gdaDPll8qrvGXX47vnAI+euM12FPJPMMN3pYyITmZ7F58LY68zBgPZWjd/zEnr5lH6dIljLzqGgZaGqlZ/D0t2/ivlDE60kNr/RCuSSmmc27ckQhMBE7YF2304NCDZuRETveRM/o8xl10Pvs/fZ9Qb2xRsQqhLEdUBkPUPfm0sqBYbNimhX7ow46N1x/I5PFIHGr04/F4ONTo55ZbY3v6xR1GRjBum25u9sc96M/rVfBLgoa8+5fdgGLYLOxpZwWjIT2HlYF9jB+Ty8HGTqo8o/ko4LXFawWFhT6dB2nevBLtd11ds603aqZuus6syXY81X4T34iwwpHw3ZISA5XG9MniN9BvBf6VFUk5p0gUH/1CsKyDBY+MiEaXlmlfokZoqtqoLeRL1mhT06rlJWpH/xvAahBPJEOVD6HxWVzyzC91cW0f7qT3oLCrI46yjYyevqxC2N+M3CdbDgrxeG/iL7Hfvp9W6BY2WkH+wpuZMOdSPnl8BR0vrbdtZ+0Ha6m//UcmD1D3W29S++PbcHX2Kh4PkpO11s6ENIE+GfmRBwj+eQsz11TqBtn6FU9oHjWVxvaDtbrFtgMtjRzavJngH6o0OWSVlgEPmcr2PPi4yWvTXlNt3Q/JQHTaUs3jdI/C8/1lBP6tQmuYsqSskVMXLNtB1kgzU6ateJKhQD9Bh8N0U/bU2xYy+vIy3JEIQYfDlFddb1a/4gmlf0nQT/a8+O98JPYfnb1klZZRvLHKpCt972ylvaaaf6qO1cfpHqVNYas8b47yPF7/DVHjICLhzMqk3zfRdEq0A5kdm1aTFpJJj9IdjtMW1Wfr86vpGiERPitb6lyiD1M7kCSQT/YidQyCg5j+HT8Kx4/ywQfV+J56iuAfqpSF0Gp5/iZqT4ZJl0DuBW9ftw5v0OGIa9hYxum8N0G6QrsZyr2VL//LT6l9/feaF0eEUJYDV5YDuXcAl1WlRSUROxM1THSrFxRMoKJiMZIE5eXzbQ+/g9iBe17vWEpK9NtQf/Pc63FqDpIk4fefsjw8D5QzbtRdUVWM5ljuDPwDyV/SKdIYCMRs2/Jy/YFGdXUNmmEjGz4ti4sL8Pv9eL1enQLJURUQeRqrl5omFi4qsTHShMPwblLgRNaNHo3Zq2wzaBtptfrKVjwlFXhTQ/gH/z5b8tUtmkaw0lOVPlkGaqrpfutNk2tVddvrGrw68AthxjlwLalF+xF5pobZbWsGkNLyKFr/vGmhXt1d5bZ5lJ0NsQV78fCDsubGhVluxt9WMHpuGTPXmA+sa36yQsmfAM/5P1xC5mz9DsuWHR9Z5hWfoy//tiU+sc2MPr8Y93cXKueJWBg1/fW1pPl8uri0CQWUVP4HA48s59Pn19Bf9QKBPjnWUUfpan/vFT5ZPkE7RVsdTEOycuOwsb5W/aMIxvakGZk11Wz/p0uYuOg+ipY/pCwk/+2TlgaR6kEQDRqRZiu44FvXM97gHWr+yX36+loYOZ8+v0Z3gnjhj8tjHyuGuqq7spI9PTu9qJhwOIzbIj5tQgFjJhQQDoc1GuPhM/Z1xn7qzOk2sqZeiJSWh/NiIF4pAAAgAElEQVRrl5nuTVLhTH09NYu/h+/eCttDMdMmFGgbHIzGpa4PjpbtTM1jxjfvIPVrigHn8uqPLh0K9JMdtZJFuu2mwfV9nLVho+OJsU9S8Rt21ZnzyqY+TQX/Iw9oqEW9u/TpVZpB6plRaC2vHnDkjCUy7lR8Y0dIrxk5PcpaqH39pXgc4+lCP767eiOKcdMbgSxHbCu4rrOzrKwCUwv0g0s4HKauroG6ugYWLiyzpVG9ykAF403f8b02Y7X1OyKoeY6Nn4EXOMZYjgH+lFMwjNvHRSgvn69NSXm9Y5k3r0Q3JRVvl1RtbaPmTfJ6bxYMMeWAQ7na3CFqyhqHJjsFtv26TXLgchXN0HlETFtijc8EFr83NaRTaPes2RTNmk04HGaUwMPPc71AMutUEjX0/Ut/QOmB2EnRqmGTDB67Q7Ss2g/o5akOYCJklZbhKppBQVkZmbNLzSeLvlhFbxxvVW+3rNvZEC8tYDqKPBmP0sQvzSDjuRctF6x2rlmTsEwVxNN5VTDuRlFBypSY1dQbV945dy7h/GsWkOobh9Prs01XX7kK/yMPkHW+cmChccBKm1CgDN4rnia48wPqH7xfN0iBMnXXNKOY9j/+p1bfeF/KEP8eIvEp4nJ19uJfWUHwjRfAOV7xahnSAJb6asQpQv51CxhRuEwXVl+5SmcYWdED0F/1AmFhIbXTPQr3DbfDq7Fb1HV3IxmmXRO11+HGG9+9qSGaMfdPo6OnNA/nkNP++lp2X1NG6qCsyGHLZtzfXWhrCIHe0Omvr2Xf8mUxHQFmfPtB0r87j7N793F04xYC7+9l1D3foUjwIIueKZH3xqk6u1OnE4GGMiLhTMvEfd3VTHF4OdbTFS+biZ5E+HsP1pI1UiKtcKalwaoZa9ngGYKhvFvpaX2bSDjBOJ1tePYEOXvwHc5aJA1lObSnqzdCikUaW5BlZSGtqDB1dc3U72uifl+TbhFuPFiwoFSHY8uWnXFSKwaV3+/XGVbBoDJ3OmfWDCoqFlNZeQ/l5fOZWuA1eVuSBa93LO/+ZbdmNC1YUKrzFMXbyQX6aTjVq6PM8crRKTVzni8yZfFFpzsmj9JPWn5RfD0Tz0t8OZxNB5js84vAmdNt2oFiu8rvtB0o/t6g8rVk03auaB/kinbl4L0vrXiakVddYzJsgjs/wL+yIi7OhAuck6RJhKHxsXUx4XAYV6aH3lfeAFl/dkJT1UZ2/8z+jilvasg2ToWUPW9bhst9Mv31tZbyVg8UC9XvwT1rNmkTCmzTfXTdldoXZu/BWt6//ko619hf3pvqG6efYhPgyN23JTTkVH5mWXwRS2l5cfOK0Hu41ZaO4UI4HGbwRJNOfgMtjcqi6iRA7pN1h9CFgx2cM9QbJ8f/WfAPuiyNut6aato+3JlUnxEOdlC/4gk+LCvRGZS9B2vxP/IAO2YW8tF1iu4YD7QTIb2omPCh/bGAiMTf/vv37L/pJg78bDnt772CM/KZvuxw2LYdf9H2bYSLH/8Vpc89BcDBV54nVP/3v3x6z3NrbHnevO9v2kLjoYCfqVMmIU00H4oI4ME8FanmTQSuXoVvoSzH8O6W8iQY/Iw7iuygrCw2JRUOhzVvRzzw+wO6dToNDc2A4r3ZsXMPc2bN0HZfvfuX3VRWLuOlDVuHdYO4339KdyLyokXzdPF2O7lUEE8nVq+ScDqdSImX9P7DwaqD/XtNFakwZpLVbVH/u+Dk8u9zpukI4VfXa27V/1NQf/93KH5nd9w1IXbeJCMYv+yypoyj93DrF6Jv6pSY/NROqv29V6i9qknzfDRVbeTk8u/HxdP4/geMsl7TCyhbY+PRemTHDtMZGeFwmL43lIF2sKaa+hVPmHaShYMdNPy6Ev/KCtOg5+rsZffPfkzW1tcoevBR0/qreFOAXxScxRfBe68kTvj3Ltfp5MQnewg+/gtt63ndTbfoBvFE0P78avIX3kxw5wfUfXe+KW+i6dB/KLQftI3yr3w+7n1NAy2NHHqxisBvn4QE/Oj9cBe7a6rhZ8pU6eTv3WLyRna/+gfOnG6LBThkUgdl3Zgsozf8/0+dMC/hZmhvCwdeeR4IIkcknOMnJ8xHJNqKHBb8iUimcLsPlnCwg+D6lXiyHQR6InQ7HJz9bD/e3hGo8yAelKsZPDgITIzgaB1LJHxKee+JKHmJMDISoRsHI7sVPCMj+qc7E7pRjBzlbin0nbw4hWmMP+fkHp27r7i4AI9H2cFUUDBBVyn1VN85s/SLkMU7pGRZttxWLULRtHw2baph1arYTgHjYuUdO/fwxONreeoZJU15+ZNs2vSkFjdcqKy8R/f++99viZu+paWDbdt2AcriZ1mWcUf3ggdkiXNO7rHkc6LFtnZglccYhxDvLL7IhMObGsJvyGN8WsXZhe3bsI6pNe/iH3ThTQ3R+P4HOjdtvLrHCxd/X/zzXxOaMV37spHS8hi0SWtZpz6ZQHTdgAh2+cBeDoloNdat93Ar3S++bNrOO9DSSP+uGg6uX89g9AyWuHXA4stu9PlIh1vjLsqO9wQ4dPg40s4PFMMpEqF539+QUL5iP7mmTFlQKniU7HD11lTz0XVX4i4t03aoBR0OXHv2cnjra6Y6qrhUyG3er+tjwsEOul98WfMWyUDgt08yED3PxjhQxatjb001uxZUk1Vaxvk/VHZ+BHd+wKCgp8PlnVFfjKC2s2Tav51exusrrHgoll13sJbamxcy6cJ8zSuUSMdU3IMHa6lf8YSpzahpVb5Z1d9KFxPFxctjldcImg6+9woQWwzeX1/LwIlWGqurCe34gMEoH4z9pGUfkAVydANT+3uv0P7eK2RNGceU25Yz8rYbcbpHcfDpn1rSYZSpf9CF1aeNVXqxDfTX12oLsNV1LeLTbrOEgi/IwVd+GaPDIRN+dT07X11vqT/K003fmDwyo1vxdbRFJAbTMhk5Mpszp9tiPD/cSjjYgVx3gKDDgfPDdzja0UtBWRmDJ1rpy0rRjJRjO16neygTcmKGDaAYOCccnJ2czYijbcp7tmD4jEQxbEbaGzgjIxG6Rc+NUbh2jS2rv8t0B1R1dR31+5q45db4C4qtwO8PJLx7SgXReLK6U2rHzj08cN8aVq76EX5/gPLyZ1m3brnuKgcV4p2/U1GxSDcd1djYQmXlJlN+ceeWJCknN/v9Ad79y27Kykp06bP6lTnOeAOmsdHaNWBjXqvOTpSdDARWVrDTsHPJmM4I8TpbYxhA+NX11EXf1c7cytCyy5+MwbH7Zz/Wh0vDNwzFMsVyjflUXBLw7ujUuEZoPANHxHf4xRWcf+4kTnyyR9ki37JT82KIuBLVoWfzizS//15ssbbhK/bzDMrhV9ezK+rRMuJBMArt9FKs72BNNYGaanattB40JcO7WNfm/97C8f3zlJf2g5b8oU+mYcnDyP4mbaDS0WtDlwqDNdX8raaarCnjlDUuWMtwuE9qqtk5OjUuPrCXrZVeWoEVD9V6ibqq4uytqWa/jeEcD7/adxjpS9SPWOlQsu3FTgZ2eMV38fdHs0sYbKmHPtnWuFJx27U7I5/VsN7DrUpf9Kuf4LzqJsKHWxP2bwDBN14w7dyy4k39g/dDrrJsQErLQ/Y30dV5mtyefnrOtpnyGKdD3XkOgn2AHPsIshvjjTTLEYnRZfPhva0WY5Kb3ksuIathF05PDtJpgY6IxC6fV3mXQMZBRuZowucU4MxUjI4AaEaKhzOxywImgudEzMgBcIyZA23va++R7iEY6YgZNgkMHJddR2f1ngjq6hp0xo3P59UWAYveGdE4Encm2YHX6zEtZLZb2Ltj5x62bNnJokXzqKzcxKZN1dH1OPrbxe0Mm/LyBabLL5cutZ6rF6fh1DU2CxfOQ16gX8WuxiUzwJAgjZVM7AZbO9xiGXblgXVZdjpiV2Yy9FvltQqzokE9Ij8Z2pKh2Ypnw+FDvDpLKJ3ip9/9lk4AlvVKQPv+369FQn+TiJ0+2dU7kcER7z0ZHY3Ht3i0Dp1uY6ivTccfK13t/at+qidZeYvxg4dbgVZbOsUwhPdkeBmv3sPVnXjlDKfdD6dtJoPDKt6YRoxP1Jbi9YXxaLbCO3hU2UqfrKysZCOClaFDn0x4y/qk5cThVuVPrKBFXo7WwkE3qecXItOLo/k4mWeD9BC0rO+gaDBJkD//epq2vjasNqmGnXfZN2nyH9alUZ+9X76E4pSxfNYnR9tOFG9EQnLIQjkOJCIMyT0c+Lcf48x00O1w6KefxOcJ/Tob+UQPU4qKiLTpvTail0c0cACTgZNiVQFs3gEujpzSDu4DGDXKrRkaRoPD41G2byuH2n1+KCz0UTQtP3bRmOF0ViOoa3gqKhZRWbkJr9eT1GWfc2bNMK2zuXfp85aG0NQCrzbtBIonqaJiHY88tIYnHl+rM9r8/gAXR06Z+GzH93hprNLa5Uk2/XDy2umIXb7h1DVZOhKVFQ9XMmUk0w6SoSluORY2fSI+mMKlOHGfl64k3+Ph+zx6bQIDf2x5KJvDE8l7OG0pEQ3DbTefF2+8cobT7ofTNpPBYQfJtq3PG5+ULOXEaZPtK+PGy8OTkxWNsXg3GXljSJ1czOTzvkJX52kGD9YycLYNCNruzjTibNr6GshupOjKvGT1r/fLZTjO8UW9oUFT2kuvu56Gzw6b+x6HE3DHylE9RiEZ1wTFmTEyOpWuLhg2PgHSJ09V0obb6DuwmxFfu4Icx1gtXaR7CA8OHCNTdIZNd3TXmVrGyMgwd0upUFfXoHu/4sqLKZqWb1o743Q6tfU2ouelpaUj6bLmzJoRvaupMOk8O3buIRCQmTevBK93LA/ct4Y77rjatJVchPLyBaxc9SOdV+n3v99iu15HNLYAZs70UVVVwQ/v/hY/vPtbujun6uoacDjak6b//8H/A1sQOxXZJvx/C/xvpCkR/D1p/v9j/f8f/F+DtBFjyLp8Pu6irxLuOM7Rzz4ks/eoPpHQ5s+ZWwaZVkrmZkgqJm1EUhfVaBB2nEfpnbfTtHmtpe72jZ7MiXffJyXQoHelAil59mVFuoc040NcW2N8BiZGGHH0sPbeNXiMsaEJMPp8It1DBIjgGJmi89w4ohdwjjSsQex2OHD+S25KBS7AbvemBGJ89lCA90ZdxlXzLtWS7Nixj/p9Tdx40xzOO09/dXze6FG8+5ePATh2XPGAFBZO1NK1tnbxt78doq9PbyWWly/gmmtK+Jc7vkVenoeJE5X7mVJSUujvj3Bh0SQuushHQ0OrKS9AZqbEzJlTKCm5gJXP/omG/ce48aY5lukrKhbx7W+XkZKiMCocDrN27VbTOhsR7rxzAV6vR8vT3x/hlys28PFHDZx3fj7jx+dqaR999EW+cbIGBgQmS1GeGvirA0kIl2zSxMuTKJ1a7hctR6yLWCf1L2STz44mK34kikuGZrsyjTQPlydW8cnmT4Z2UVZW9IGeL8Y4K/nY0ZsMrcnoLl+gDDs5xwMjLXY8SIRD7LS/iJ4ZcdnJzU7/7OoQL/7z0JiMrieS2+dpf/F0KV49jb+N6YarN0ZarPIPjABpcPi8itf3ab/dDHmmc+78UgZG+Ti76336Gz8mciYIDGo6keobhyMlSGQoileG7tN+CMkanpS8HFyTCnHm5RHprifc363gMNJlSbOb6ZUrGPjPbbQd+8gyTXbPWc4c3avgVPGEFKMo6HaQfaZdyabWXVaekQFIT4uiOQsOycGI7ggOyYEU9dpIOJB6hDN/ouFtkSD5502n95SfEd19Wp5I9xCOkSna0yE5cEgOOKsYOSMYjUtS5yQl9PeBqA3Twn1+dsdbwI+09zvuuJqOjiC7dtVRW9uoW3dTXFxAXV2+bspKXAysLMI1T/soZ+dAZeVWphZ4tYs5Re+Qcv6N9dqZyspNLFxYRkHBBKqqKvjNc6/rtnJ7vWNZsKCUefNKdIuHOzqCPPH42oQ7rIwLpxsamjUalZ1csfhzTu5RthsKHZ7202AB60BNG5WN+FsnJ7EjFd61fJIhnWSBWzLn1z2NdFmsh9CVbSxKwG+kS1sULBvSivVFeBrqJ8no75Ex0KzREk1nR7NWniGfDpEV2NUlml4rV2xrYn0F3Lp8avkWMtDx1dhGLdqxVTJRSDoaRV0Qk8bRDct6G+k3lCXqifZDpNdChiItptOzieHV6ZmBLuO7SI+RLzo+iPU1yhI9LVY8NoFBKBpOA9+0+onxxnYWT+9EfAh8sZK9Fd3GPkaNV8Em3LIeYh6rfsoiXpdGbPcIT5EOu77AoiyTXlvlzwwj9Zl12chfk+wFfLpyUPIO5I1hatliBke2cfjVvWQE6hlAjtLoRpKCBL9yPgDhaNbw6dYYjSFFYGkjxjCi5KsAdO9pUjwr4lyZkSYL2UmE2bvseVLkWjMPoulkSdbrYjTNuedMpvXoHr3eWeGIgmqQWEFgon79jXSsB/Jh4rRSju2I3WKg5hfxRLqHdLhcWkWMHVA03NjGJZSdP42NLRQUTCAcDvPAfWu0gR2guPhHukK8Xg9e78WawVBZuUm7XFOJM+9cEo0LNc6YJtEuq0ceWsvjT9xFQcEEnnrmLgIBGVmWkSRJWwwsnj68bduuhGfZgPlKBlDWF6n1F6+WaGxsIau/S5kjFXis6b3YqOTYQ9MLoTFK6HGo+XUdvWzWX7u2bjS2jKOfTvayAY+h01T1RYzXDQYCDqs+RNcRCJ2GaUSWdA9dPYw0iHzW0WYcFOSYHAx9qul6DCMfxPLNI7BhwDV2NkLnjtBZgMIDHenR/CKtKq+smCoO9mIaY32NtIuGoxGfqTxR9wxKJ3Zwxv5DR6pRngZ6bFgWK1tMLtAnDjJi2yCaTiNXtqZHR7CRr2p+yTCoCnUw8snY9kWZa3SJOEX61LKNbc7IfyP/xHqoZRJLq5ZlR6qRBSINIl6RbiNPdfK3aXc63RLLNfBHxWei16hjhvSmSqjBxjaGuTxZAikcS2TkhbFeYJBtNKGMjISELDvJunw+E0oKGdp+iKbNa0k520aGUA+FL0FkGdw1RyES65gGtTRucnPH0X31LPIdXjqPbqV3314yhMoovJCiNDqRCFo2KDnKtBS5Vq+L0WKdeQ5SiejauNpPpI0YQ+e4kQx81qaXgdg+JUjtizCYqRgtdoYNYFpYPBTw075lI+Of+gkp+48y1PGJ3mPjGEMk0qYZNloc7Thvy02pMH61qU+XDK6oK1yWQYq6oUZkpNLzpTLOO+8cUlJSyBs9ipbjfoqm5fNhTQPf/OblpKXFKjBhwgR8vomsW/emFlZcXMT48bnRaaZ+/va3BtsKf144dvwUjYeOM2XqBEaNGklGRhrZ2RmMGOHE6XSSkpJCS0sHO3bs5v77f8ebb8Y/KVmFhx9ehNs9QpuSAmhqamfxv8xjytQJOk/Q66/vYPKHr5LbE9B4qvLYFVUA3dMFkkt5ulS+q/miYRqOqOtP3fLmClnIT8CNTZlqOWr5rqgSq0+tE1JpckU7gJBSpphPjr6LZUshJVySAJeZLhG/TgddMfwY8BkHVkmkQdLzSKNXpMul559Ki3pvkI5GIw0CH3S8E/ippQ0p5WhhIUyyk4UyEWh3WZRjGhQNuqPKQBLKlkNRXKFovdU2HRLwW9VbfapyiLrZVblgwCnqhlpHow5hqKuoH1Y6gYpT1D1Rh1x6GRv1XhLLUHlq5LtKu/oUZCfyh5CBNkE3NDqiPBf5ZHwaZW6iWShP7Cs0GqzokCxkERJ4I/bjQpuXbHBZ0afpnCAvXHpcGs2uWFsX66dLb6UPLkNaQ351TBL1X+t3QrE4nTwNT41PLj09uvqK/UaqC9kVUvTLwFujHppwhcAlhXC5YOy5cxl357fJOjuSphd/T+BUMwOONr2sDH0aciimP6FYW8m6/JuM/86N5LRFaNq8lsFjR7Rpa63PCoHMCFzpEVyufl2cbNAXldeqDMQ27Dl/OgNtp3RtXuXj0JRCXJk5pBzdr+QNGehX+QWMGIChNGX6yOEYQ3pwgFCa3ttiBIfkYLA/RJZ0LqO/9CW6juzUwgHSgwOER+QRkfs0w0bL+7eJLmWSKlox41MmpkQqyMCrNzzLylUxD01tbSMvbdjKD+/+Fj6f1/L0xWuvfVjztsyZNYOnnrlLuzeopKQ8biW/KMyZNUPbtaWeR1O/r4lDjf6kz9lR8Tz+xF243frrI979y26uuPJiyspmaruowuEwCxY8yrK6X5q9LnZPDGEiWKTXfZkTJ87iPV6Zll/3hnRaciOtVnTZhcejI045cemz4ZcuDwLuJPgaz9sR78tch89Al+5+p3jyiUObiS6buhs/x3WeMQta4vLDrmwLuRrTiPw23W9lpS8WvNTyYl9uXJrAvl3EwRE3nxV/E8jSxBvh3bLtisUk067tdDCOrsTVLYv2aGonVvKNg89UHtbyjdufYIA4sjT2Abb1FcomXVK8J0ng0/NcYmhENuFr5nPejGKG9rZw9JVfWvPeArfumS4xNJSN89abKfjyTEJNjbT9roozZw7r0UR/DEXGEMqCtNM9ynSSVTnC7/j1EPTPIMPwxWXQ2YvzYG3idhCFVI+ENOk8Opr8pIxMfnPR2Isv5NTu2BUX4vSWwzEGqa+LM6HYrVOKcWOn7Da/JWBD1mU8uf8DXeEtLR0889RGiqbla9NOKigXbDZTXv6kFlZZuYziYuX213XrtsVdwPuPgniH+VmBSrMK6rRc0TRlXZFqsIHCj+eu/Cb/3PvXxIMPFnFW6ZKRVaKyrMqMly6BPiSVNx6ueDxIJt9w+JVMHT5vGZ+HH8nii8evz8vr4YYlQ8MX5V2i8u3KGi4fkq3/F5XtcOhNFjc2+JPRl8/L9+HK7YvqtDF+OHWyo90KZ7w4FRwS9EcZn6x8HRKTr15CyvQJRIJtiiHSf0I3xZSUrkdh7DlXkvWzfwXgwOubcL65lRRHm2X91SmrvmCPbZrYM1qY1XoGu7oJz8nfflCZWnO0JVUPUIybvNJvcLrmz/S7B60TDQMyg2GCmeMAtCmqLJe6FVwkSH23+x19NZ53Ew6Heeap2HHXHR36HUlOp5PCQp/uKoby8ifp6AjidDpZtGie6ZqGfzR4vWNNhwPGgzmzZugMm8bGFvz+AA89spj6fU2m83zq6hqYG45amiIfRcEbeW/ViRnTx0sbL41dvB1NyXZ2dnTGC0+GB4loSKaTM+K2oyFRw0ymjHh1S8SHeHnscNrJ3Sr/cAaEZPhiR1siGdjRmIxM49GTLB/t2otd/YYrL2MZw2kzyfIlnl4k0pdE9UtW7sORYzL9l1Uf8HnqZMQbr0xjHqt3hPBEfI7GZWRMYfLVSxgIH6L1335M8y9/wZnOw4qBlEz7MJSfkTGFnF/9lKO/e4kTd36L1FfXk3K2zZwnXSIjYwqp5xdy5szhmMEh0qyrgwTpoC200cqWYrjThd8GejNypwCQcrbHuh5GWUZhMCAz4rwLkTNzyIxegG28LNPy8kyLuMxgmD63k6GAn5GRdhyOMWS4RgDg/H5adCt4vM7dJfyWlffcgQD/+T+HufoH31EqmJLClKkTWPnsn0gfMYLpM/LJzdXf+pmWlsJF0wqoqnpHCzva1MpF0woYOdLNVfMuxel0/kPW3xhhzqwZjMrNHNa9U79+7h7dWpuamn3U1R3m1f/azn0P3Mzll88gEolo8atv/iHFfUdwDUX31al8VJ+yRZhVGsmQ3hW1fi+ZTUpONgOdp2JxQhpdXjHOWI5VGRjSGXEY8djVy6psUfmt8hv1za7xu7AuJx5uIw/s8NjliydDIU+qRyLv4qh8jp3S5xVlZSUfKxqt5GPRLm3ptauXlZ59Xl5Y0Rsnfda06XgKLmBA9jMkh8x0WPHHql9Klo9WdSJOeKJ2aizHTq5GfHY8tdJtq7KjaVOlXPJKL7PWMWNeu/rZ1SFe+02mncZrK5+XR4noTBZHvDphjk+VshkK9Sdut9E6nh1y0X/8b5xtOIgsOyHdhbJQJU55ccbcwcFO+l55hUjHcQZC/dZ4HBJZF51H74kOnD0nUBY/Ydt3DjnH4B45msFBwUhygTqV5nAEo+8C7bp0MP7q73Gk5a9knG4lpG45F3TT6YkwFAhZ9seekq8SOXSA7r5uHJJDs388OBh58YV0+JVz4SZkS/SeDeFBSSOeUOzBQU+ag8xgmMEsJ45gKqG0dFwDMsFQmBST9Wj8bQQh7qtnGnTem4KCCVRWLuOpZ+6iurqOe5c+TzCoP03Y6/VQUbFIe9+xcw/l5c/S2NgCKNcXVFYu+4d6cdTdTsMxbNT7ptQpJ7XeZWUzKZqWzzNPbdRddLZly06+eqYBKRQVm/FLAOy/EqzSCL/H37KYol3N5C55FN/vXqawajupXiXS9+DD+JY8bM5rjEtQhgmMXzbGcCt8skWY+NswAI4pLaOwartC65IordE0hVXbKW4fZMqqtUoaKzqtvoYs4sffotweP6a0jMJN2+PXxYr+BOEm+WzaTqpHMvPQ7qtRwDn+lsXae/HxQe23b8nDFB9X+DGzWTbTEa8NG+oplpFUHqPhYkwnReV1fNASd6pHorBqO77fvUzukkcp2tWsycTyq9pYrtVXtdV7ovZl8WU5/pbF9vjtwu2eVmXZgUX7KKzazpi5ZWYcUR0uqttP7pJHmfTUb7mwehepUi46sJGpqDtZl0wna9p02zYZF1ei9m0EmzSqrsxslnVPtS+wxGFThtiHJIREOh+NHzx7JvZuNEKMeCRIcbQxGOhEJqh4RSKJhG9Niyqn4uODFB0PMP3QKS7ctkuRl4rSoXhrxk6ag3zohOKtUcsz0KXim1bXQP5/b1amydRoj/KXkTuRlJSeGB8lA+1RnEMjxuAoSMW9+2Olnob4QbmTwYBsKS8J8L/wC+RAK1muiM57EyDCqd37Ne9MS4/MhGxJf7EmsQMBVc9NZjCME5lIpI0xUxXvjUssV4/bDQsAACAASURBVPzotXPiiGkmyn5e2rCVmTPv0t0Sfu/S57Wt4cZjop1OJ/PmlQBo2679/lMsXbqGBQtKWbhwHjNn+igsvIuGhmbq6hrYtKnGdl3McNbMzJk1gyuuvJjKyq3DXkRsvG9KpV9dGC3L+juzKiu38lPOxPgpxeGrTZxVWM786/Hc+gMa55XS26ycHTRl1VoKKrfSsHAuAkoTrjMffWAbn/C3ZEOXFD+Pqa425cgGPVFplYDs0jJSfeOon5RKcOI4Jl0+z9LGMm3btqAnu7SM7Gtvo/OltbQeP4hr84uWdYmLxyZeBsbFkU/zwrnWvLCRv0irDHQ8/ZhWjueeh/lsznn0Njfha2qMS5PpKRAgA2OeWEPnS2sT8s6SD8ZwSRlgUn3jqJ2UCob6AuRX7aJ7w2qtXlnTplPwX28TOtJET021LoOdriTbZ8WjXVskKcVwWPFCo8VG163osGsL8fIa8ahg1M+wR2LMIyto/Oev07tvL6AMXJOf/z0n7vxWQn0Vdaewajudqx9jMA7Nw9aJJPgjhon9VvHxQRp8ks6+HU47xCLfcOkxPsMjMnDKsm2fZoULG97F0xOrunQ8/RjNq3+hxY+bfz0F//U2DYXKBZVZF51HwJXLmd1/ATm+TEbd/ygfzS5h4oWTceSOhIisKyv36sWc+MMWUs5Cf+tReja/aMvLcZNn4MovQI7edaWn3w0EbXksR39IyPS6HGS59HdNAbp7p1QDJ9hzVhcHEIgaNqqBkx5M5VjrIB7POFKsmJBIIdQ0UkjmsrdW6w7lUz01mzf/gvseuBn10kgRVAOnqqpCuxLB7z9FZeUmHnloDevWbcPv91NcXMCiRfPYtOkxqqsr2bZtFZWVy6ioWERFxSLKyxcwtcAb91oFUIwT1VtUUbFuWIaN1zuWhx5ZrLtqYcuWnXg8EpWVywBYt26baffUdw//iey+tmHzNVH6nCU/4fRjy+htblJkABxddh/SzAvI8sXW/KT68hWjIHqejwS01VTTJlywJgNZ0XRGmlI9kpJ/2nQTPVbpwh5pWJ1cOJova9p0jCDSqmrPYHMrMuA+0aoNiio+EY9YXta06TraRE0UcYn5UqdNJ3XadJMcZFnh6Zjo7btWcpIQ5NMgyKfiLqSZF5Dqy9fSquVYyXpMlGYjz/yrf6H9djqdmg6o4WIdVDpF/GGPpBgeBl6pRrnYGSkGSn5CfUydNt1ShoPNrVr9RVnlzL+eSKBLk6EE9O7bS2DN82TfdLtWD1U/VP016pEoVzu5iPWI177EpxUvsm1wqDTa4UyN6l+qhSzDFu0GhHZnyCPSk3NBCXLdAXr37dV43LL+aUZedY0unR1fRN0x0hXvt5Gv2aVltjwRw7NLy7S+yQ6vZBGnteNoH2VlTNj1IZquG3RYFuKMvMeGVqd8Nrm+Muo5E/U9y6adW/WlRrwiqPxo3foaA83N5My/ntTLvs2IYxl4Qp1k+fI1wyvL0Icp9Cg7eMeNz6Jr61ucjF68q9X74jJc+86Q4WhDkmQGm9s4+fuNJn1W+47e0030rvyjTtcUGbl1dVF1MCzlmuQKkBXdrB0KhnA4xgCYLtb04OBIzkS6HaN1PFHj+9xOzdhxIuPuayUQknF8OtEVsWJqvAFYhN5MBy9ftVK3SygcDtPc7Gfp0jVMLfCatk6LEAyGqaqy3imlLvg1LtRVt3BD/IP8VE+N3x+I6/2xA693LKtWKYcAiqBuey+als+iRfOQZVl3iea9S5/nhv9ejkedkrKBeMpsFR/2SBTtaqau0GvKl+rLZ7C5Ce+Sh8mYfw1Oj4dwIECaz8fh0gsIdXXhjU5J+Vf/Al/VdkL+ZtIKL8Dp8dD/6QHtq2/c/OsZ++y/I9cdINU3jnAgwJGot02E7NIyxq+tQq47QIonHYDTjy2jp6aaouOD1Ee/3AEKm2UafArVOTb4s0vLyF3yKM0L52q0nvnoA8Zv3Kbp1vEbr9TShD0SU6uqAXR1APBVbSfVN47B5lbcs2Zz8vs30bX1NQqbFZnIu2roXP0YuUsepWHhXFINuMKBACcX/BMB+QyFNrwyyiiRfHqbm/BIGXjXbdHqDXDs5vn0dXVp7nSppJS+TRvJXHCzRmvzwrkaT4uOx3YYHL/xSsZv3KbxduKqtaSXlBIOBHB6PDTMm4kzINvy3Fe1Hfes2QDUT0olddp0fL97Wcvfv6uGE0sXm2Rv5H04EODYzfPJKJzB+I3blHCnU6cDAON++mvOHt2tGZUiPuQMnHInubcsZswjK5DrDuCeNZvWZd+n86W1ZJeWkffokwwF+hU+zbyAtseXM+ruBxUcgp4WNsv0bdpIWuEFpPl8tD2+nJMvKR26qIuibibDi8NLF2s45F01SCWltD10l6k+VvrXuvU1fEsexjWtmLSJ4zTeNZR9BafcSWrUgyXXHUCaeQHhQIBT95TTVlOtH0yjdB0qKTTJRQVRD9J8Phr/+esM7ttLYbOstaXgzg+QSkpxOp20Lvs+o+5+UMOp5hffz3z8Pr07q/FVbdV0N83no3FeKYPNTRpPVJn17q215Z8Kxj7O2G+M++mvGXnbjRpP1HrYtf3s0jLGPlsJRA3sklJO3jyPtppqS943zS+lr6tL8x6q5fRt26rRatdXAra6KvJQ1c2hQD/NC+dqvFT10ShPlSdqH9i8+hc6HuVvq6N/6ys43GMYMX0a7lmzGWhppGl+Keds3KrVTW2Toa4uTe7hcJjAs79AKr1C6UOlXKZu+jNOjxeA/k93c+LObxG+7NsU3PNDrZ8tqNxq6rNCXQP4qt408eazO35AhqNNxxtp5gWcXLyQ/tajFGyroaHQq1k6E59+nTPb36CneoNWR6OB0+0YzTnjUjl6ssXk3QHFOFK9NwBhJP2t4CIYw+wG4ay+CJe9tZq6umYtzOl00tDQrF2XUFW1zSY3yLLMokXz2LZtFeXlC3ReGL//FDt27qGycpPub8fOPfj9pyyNlTmzZlBevoCqqgptCqqyctOwDRuAysp78Pm82ns4HGbLlp34/X5th9S6dduQBJ/zli07ueyt1QkNG4hv2FjFq19sVvkGm2PXW6gd5pF5Svrsb5hPVAYg08OReSU0zS8lc3ap9oWR9+i/cXLxQpoXzuX4vJk4PR7NYldBBsY+W6mlC2x4gbTCmZbFgH7KTsTfNL/UEr8KbTXVnLx5HsGdH5gGyskVaxhoOMCReSUcKikk/aILyJl/PTnzrwfgUEkhzQvn0rrs+7hvuBWAkzfP04wFFSQLXAMNB8h78jcxXkd51TBvpsYrNa8KieQjAZ4f3EuoL8ChkkKOzCuh//2P8D66UssT6gvQ4JPwP3avJa2Axof6San01FRrvM29ZTFphRfQNL9Uwb2rhon/+qu4PFdxqzgnPLSajud+qdS17Cu4vD5ybzEbN1b88j66UpOXvKvGJC+AEdOnETrShLF1OAOyMsD78rUpl+aFc/nsG8WMeWQFqdGv6bTCmbQ8sYTmhXPp27aVUXc/StN8ZRAW9UjlyZF5JdTPvJAxj6zQvsiNZ3Cp73F5MW8mLq9PWxvkdDrp2fwiDT6J9i0bdfjs9E+VcfpFF3Ds5vkcmVfCYHMro2/4JgC+372syejUPf+K0+sDzP3A4L69DDa3MvE/Xidn/vU6Lx+Y9aDt8eX4fvcygGbU1U9KVaZJd9Vw/MYrORkdkFX+ubw+nB6PhjNz3nx6/ryJsUt/Ru/GP3BkXglH5pXQ90ENWbPKdDypn5RK+5aNlro03qBL8frA7NIyMq/7OvUlPo0naj3s2j6A0+uj+Xs3Kv3Ss78g+6bbbXmf/Y0FigHzu5dpe3w5zQvnUl/iI63wAj2tFn1lPF3NmX89Lq+PQyWFHCop1AxygOBbm/Hc+gONprxr76TvjbdteRJ7dzPup79mhM+Lf/WzRIJtpPrGcXD6GJrml+J9dKVlm0zJmMKpu76jyV9cnjD5yWcYONFK9/cf5FCJL9aHppzW0ky4/X7LPku7NdzAm3GTZ5h40/b4ckY9uorB5ibN8yTL4HLkkPm1+fRUbyBARPPOGG8MHxlRFhir3h01Tl2L43K7NMMGFA/O57oV3AgXhZr5r1tvJxiMLSwqKyuhaFo+Uwu8LFhQpi0YNkIgEGDdum2akbNp02Ns2vQkFRWLmDNrBnNmzbCcdvJ6x+L1jtWMmcrKZWza9CQ/vPtbeL0eli5dM+wpKBH3pk1P6hYQg9J43/3Lbioq1hEIKFvAFy6cpzvXZscDD3JRqHnYZf49oXfjH3DKnQDINe+SljfBMl3P71cDEOrqQq47QHqm4lZtXjhfWfsAyAGZcCCgxamgDhRqus6X1oIcIBkQ8Ye6uizxqxCv80svKeXUqp9r76fuKafvwG66tr5Gy7J/0cIjnd24Mj1WKOxxrfq59tUFMV45A7KOV8OFrJu/y6nVj2rvp//4rK6c4KvK10uoq2vYuDMu+SqBDS9oeU+t+jnB7a8ByfE81ZePNPMCOl9VBjqn3EnP5hfJuOSrprLs+JXIYFfB9mNpVhl927YyGF1LMrhvL33btpJ5wcUADDTUaXGhpkZ6N/6HVt/B5latTuFwWKPPKXfSt22rNggnAxovooO+MyCbeNHz501anAhd2+PrX+/GP2g0q+0z1dCeura+RtjfbEtf86K5nNn+BjlLfsL0fb2KpyhqmBj1QK1DqjBtbQQJ6N9VQ9b0YgDcs2YrH0bRacyB5mZCXV0crbiL0y/+RssXPnJc17+oPJE84/T8kzvpXv+cpS7ZQfZNt9Px3C81/nZtfU2rh13bB8XTqerImY8+wBU1EiE+70VZBza8oJe1RV+ZecHFlrqaNasM91XXamtWAN3vrq2vkebz4crJASD9q5dq7dQIo+5/lKLjg9G/AEOXXkbr129FNSz63nibUFcXoa4umzY5lzHfW0j3e3sJh8NIQMals7U06SVzGdy0i569b2p8HKrv1dGQqM8y8ialKMvEm86XXqZ7g5IusOEFpIvLkCTIKlEM7FAwRJ5gnKhGi/jeffIkY2bm4UidpNsxJYLLHduSZbcpcnggwzddTVRVVWuH97ndThYuLMN9x9Xcu/T5qAdmmenCSXXKRz0j55Zb51NY6OPqq2dx9dWzdGtdjPfFqBAIyOzaVcdLG7YOaweUFVidQKxCS0sHt9w6n6Jp+SxdukY3ZaWe87Nw5DE4Ycr6/zuYuGotLq8P96zZhIPmUyTTx01msLlVFybXHfi74U8G0iYU6DxW6sAAyiCZ/eR/kuobh9PjSUib0+vT4RpsbiJtQkGcHJ8P0iYUMOGh1aYwFcKBzs+N2+X1ETqyXnsfbG7S1SkZmQL41sV2m6R40nVfnSr8o/iVljeBUFOjLizU1MiI8y7kzEcfWNJiBU6nU0dfqKnR1si3Ao0XVfa8sDVA5eHrn1V7Mr4by+h8aS2dL60l1ZfP2KU/0xaaGvVAxaWU0WSDEM58/D4Zc6+jd28t/fW1nN27D9e5+WSRT//7HwHKyg3PbT9EKr0CaeYFAATWPK/hUHmSDP8Sgcvrw3PrBWRfe5sW5vR4SB832aR/attXyx0OWPE+dKQJl1CuFYw470JLXU3Lm2CSQeiInu99H9SQ/Y0F9O6sJs3n0/VdInQ8/Rh9697BPedy2v/nVYaiJxKrXweRYJuWVt8fugm3OXF6vfS//lfSzhy2vDUgbcIETrY34o4aS1279yKPzWccWTq88fosI4QDnWRcOtvAmyCB13cA0Lu3VplK/jd0RqCM4qFxpE7CM3hch1M1YgY+7SPtokw8u/VGTSgYwuV26Z9qpLjwT/2dbBhAdqiNzKeXUjuzUDNg3G63tmV606YnLRcXg2LgPP7EXTzy0BrtBGP1ugSv10NhoU8pL2rRyLJMICBTV9fwua5QsIPy8gUsWFBm2uEFimFTXv4sq1bdxR13XM3ChfN06bZt28Vlb63G3advJEa+JXpi+C1CT021tp7BiDtv1VqCb202Fyy+24AxqmBbDYE1z9Pzp/U0L6zWdVBWtNnRaxcXD38iWuOVoT5zb1mM59Yf0LX6V/Qd2E36uMnkLnk0LgKrhm9XllXZIMhHwnTD80RBPp2rH9Ph6NT3GwnLHY53RKXBl4jnURhobjbR19/XaeKxkV/xFkLq9LrmXTIunU1PdB2JthDVl8+kyo2c2fqmZd5EFTXuWB02DguIxwu7MiQgY7j6lwSIZajThKqnYbC5iRNLF3Putl1kRxcQJ4tThN6d1Yx5ZAXBV6cwcKKVs0d3M2LyxTjPnaR4FCXIe1r5CO1c/RgDB3bhuf1+a2Qk1iWruhkhsOEFk2EwcGCXpn+2eYfR/8XL9o8ACTiz/Q0y5l4HQN+2rbblu/ILyPrhGLpWLiNNjEtAZErGOMZ8byFOp5PuYx9q4TKKN0sqvYLsdGWKx/3XrRq6kSPOI7X9NIzPihEEdK9/TvfhZdVnqZ6orqE85QJPXZ3dDER/O6PenNRp08mcN1/zNkkyhBxZMDELbL7xMtLbOHM0C3f2CG33FOg9NlpY3EFV6KSNIHZMRH9f1NfMhltvx7P5T5pHo7i4gMJCvSdEXXAs3kHldjtZuepH1NY2UlGxlh0791h6YYZ7XUIyMGfWDG65db7JqyTSqxpWv3nudVau+pGuPo2NLex44EFuFaajjDfwqiCLPDUwX+S1JMTLKj4Z+t7ZSu4tiznz6trY/SseSVOSEeddqOSX0W+vtvF6IelpzC4tQ647QOCFX2j4U33jNJpUWgYO7NK+3NQ49V0SwmRAEnZspcXBb0Wr2CkZB/j++lrFFR9tLDnRxarZ197G6ceWMVBTzSBYTkfocMkxXM59e0GC8NTp9NfXmsqUJfO7BFpd+t7ZSu4Ni+mMLhaUJcUoV+XTX18LwEB0J1ju5Fwy7nmGAeHLTTLIRKcmQpyx7apf2tLuapAhff715F11LT1/Wq/wXN1tJQkylWL5Bw7sIs3nY+DALmRZuY8mff71ZJ2bz5lDe7UGb+IXEJ5mwS9JbxDJMnT8zxv4fveyQouq8xJ4v3kLAw0HOPvZfm19itpGXNOKtek6Y71V+VmpTOq06ciH9ioXT1rgUJRW0vFBaesGXkSnRXKivOg8tFdPh6ADsgTeqP6pBpwrqn9iuzPKWG1PuhvfhfYk3lYd6ewmZ8lPOPPq2lj/EMXT39dp0gMV18CBXfq2aaCH6HoI9w23EtpXS+hIE9nX3oZ71mxO338zEjDyqmtonJqq6bsrv4BQU2PskNuozFX+nWnYg6u/C1mO8e9MVCag118dLbKiz2l5E3R9Xd6qtZxadTTW9qO41LavGkJWOiIKXyxP5L1Wr3PzObt3n15mBkI1XRX6aVHP3HOvZ2B3tXK799zr9XLfspFxT/4WV6aH7vXPmdryQMYUpNIrCPUF6Iou6BfHAWM/BLE2GW48w9ilPyYSbKO/vpZRl4wi1IcJ3Pc8zEBLI+FpBUiH9iLL4HnsB6R9/H6Mj7KbgZYWwoFOenZXI8nKh8jYpT9jYHe1nob+LlI86eSknNa1Y4BQThoFW9/heIkPGWU6bcJDqznb7Ef2d+NGqZMLyJYCdJvJBSDYcxZ3diMRzyU4XJ1EOvfr4kXvTYrGMISOSNIzURzUTBeVqR2YrMR/x7mHlTeW66aTREMgGFQuk1y6dA0P3LfGRHxxcQFVVY/pDvoT4e9p2Hi9Y6moWMRTz9xla9jU1jbywH1r2LSpms2bf8EVV16sq1tHR5CVN5bzHecepa9E4F2UJyLfRKNQEvir8TqaSL1SXuN7VPNPrX6UUXc/SMYNi5EkRdHynt5I94sv4/THvnBUmahgPGdDC5f1cf2tR5WdGt58JI9E3qq1mgtS1AUCMn3btjJx1VpkCTxLHsbpjt2G3l9fS8Ytym6DvIqonKX4+K1o1dlnBkvjzNY3GbvkMfBIpE6bzsjbbqR3ZzUhf7PWmWSXljHmkRU6XCmedBOuwIYXmPTUbwn78gml5zDpqd8qXgSRb5KepyqPNSOTmHzUr+tUr14+gQ0vkPfok4R9Sv0zHvm9qW7iYKXSKhrLlmdtSBDc/hqj7n6QsDcfPJIyAH78fozn0TLznhRkGs0fyskBWabvgxryKtYgSZKiW4/+m65cWbbgV06MX7p6yAJ/ovmd+/bSv6uGvP94nVSvstYh94bFyrz+qp/TX/Nn0i+6QNOd3BsWkzm7lP6aP+vlYJSL4R1g7JLHkCSJ9PnXk37RBfRvf00zijNuWYwsx3RTlhVmOJ1OQukGXngkUgVeiDzX2i6xNq3qnyQpxryqf2K7M10aGlDKy7n310p7+oG+PakFyBL0b38N5//X3rcHx1Wdef6k1uNILWTZZmxhE9ZGOPEOIcSVZWMPbMoUj5hyIGTYEE8RZnBRbCDDw4ahEmAo7IEk7CYx3g07VrJDmYEwYSrLrLPEQQnrGpfBaxuG8SsMqtjGCqxsWZFxW1JL161u9f5x+97+zne/87htZSbF6FTZ995zvvM9ft/jHt1Xd3Tg3Cc3Ax0KSoVXiwAgc+gAhl7+K8x59FtoWrIcAYBzn9wc3hbLBdqX9SPxmY5ZsV/Hd7yBtiuWYeyN11HYux3Zy69Afufr4QIvAAr9R9BSsa31ltWYcdOXNcwjX0f2dD62AVA6flEti/wWRDWPYAMFDL38V+i46240LVkOhbDGtCxdhszA0WruK4VSJffx+k90fCnetKbwP9grup775GaojpDfnEe/JT4HQxekcazeFH6octYt1Vg9+ZMX0HbDtWi9aTVm3bI61I/qlQsw/vZbyF5+BcZ3/ay6cFHhwmbumntRHOhD8eBbCX/R/egYCOvh+d9+DvO++QgmD/Sj5br/iPz7P0MwdwYa2sJYimKuriO8yjLyox9i7n3rUWyZGT7AveILGNm5PebdfMEfYPyXezH7sY1o7Axzfe6fb9DkhoxD26LbjuO7foa2K5aFf8wC6HxsA8Z/ubfq80psBTt2oLF+VmxIQ3kcw7+xX0XPD59Babb5UYa4dvJFTLyqZX8RRHSKcND6KvvZXIB7J/aICxcAePHFHizq6sTLLz+B13bu175wHLVsNoOVKy/H9u3d8YPFU9mi7968+OJ6rFixNHGJvb//ZKzXunXhpd+3Dx5FqVTCypWXV195z+fxjcc34yuF7ciShwrpX9moFE1toRH9RxaKWqEk9DHGFcLMoQPI3f4ldNz6FSzoDdDVswuld9/HqQ33AgAKQ/0oDPVXE6VyjICMIfyraHy0eu0vOs4MHEVu09P46Gu/woLdfSgePYKT31mPTMes+Nddo+3QurvQ0LkAFx+agFp2VXxVAip8JXzOo09hQe8Axt7cgfzO18OTh4V/Y/FdnDlwULMDqP41qsh+EAC57z+B0rvvo+vgCLp+/AsMPv4QMgNHcWLjX6DthmuxoC/ArPsew4m1X0VxNBfi8c5uAMCi7b0xLwAYe2kzxne8ga6eXbho1zsY3/EGcpWPZ0XYRHbHxxVbI6y5f7ren0j4Z+ylzRh75afo6tmFroMjwGgOQ+vu0nwSyaG6Iqi8uluJh3hfVfYDoLB3O05+7z/HvMd3vIGxFzY7fXr6pR/iYwcGUepciKE/C18/7zo4gq6eXRj50Q8x9lL1mxjRVsTr+09oPoqvCkUnr0pMD319dei3nl3oen8CHbd+BX133IxM31EgCNB3x82Ycet98diRL14L5II4PqI8ieM5qMZwY/Hd+DiKjXMf+yb67rg5LmhRbC4msRn50geLGH+au+SEPfbUA2H89erxpwKWnzTOFTD0Z3+E5k9cgsW9AdSyq/DBpk1hjpLFm6rUk75V1wFtHaFuhybQeuUNOLZqeZhjhw5g8PGHMPep7vCzAW0dGLjzuth/NI6GX34Oczf9TbwYz//93yHY9w4ajoVX6k6/9EMMv/xc7MOh9Q9j7lN/Gcq87DM4/vX/FOtFcYzsSeBXuaJJzzORTUrpumUOHcCJtV/F3Ke60fV+WGMiP0q5P/brD/TYU3rtoFhTX8S6VvCM3pyKrkxEeRmdmOPamSOxekiP1czAUeRu/xJar7wBrVfegMHHH9JyIfrj7PTPfwoEQeUPhyxab1qNuWvuRf6pJzD25o6qvtG86FzAYikAMPaDHwAA2lZ8ATO/sxbBjh2o++UkSv/nIPIH3wsXqQHQPHwKDR0KY995JsbxYwcGMW/zFgw+vhaZgaNoHj6FMwcOYmToKI7d+yDGX/mf6OrZhY8dGARGcxhYf79Ws8JFWxbFgT40D58CggBHvnhtHIMNnQsw8hd/CRVkgSBcoEfxNnthtlpbggDlifdRN+v3YWuFX46ipW0W6ho/AgDItoe/J9WQL6KYbUBDvoi6wxeRXwX33MZXBehfAXSBBGCgqPDS57+FDRvv1pTaunUnurtfwaKuTry2cz96ejZCKWjfiaGtVCohlwuQy+Wwffu+mp6xib6Xc9U1S7B06SehVPjXjvScxZEj/fH3eb793bvQ07Mb3d2v4MYbl+G226pvRuXzJTz6yCZ89hcP4KKRyRgf7Sfe+RIb0LCMV+ue9E4Z8apK2LfJMf1ZIO1bdO18NvzaaYFcDk/EDv2L1aQH3QKyPpJ+YPQ2viY+Phhw3pFMbqMNP94n2WmLBy7boIu3DSny38rbZIfU76NbGj0rNIECLj40gSOLGs1zXfq67PWNJZONJl+Z7I52yaLAGiMm3jYbAbNfQMZtsk3yJT0keT4+kPRLmW9iDTXGRiuAMbdvyXHrTatRfPdoXAtbb1mN1ss+g6Hom1EqvKI29uYOjFWenZrxua+h/hPzkX/qCRTG84AqA8GYLs+Czcz7/xsAhPPLgxo51XPG1V9DXVcjxn7wAxTGBwEFFOovQtul51dvj8c2RU/PRPa3olA/D02ThwXbs2iYcQlGTx+EUvmEfqXOhWg5kcfw+CAaFyzEghdfwftLP4WmZZeFshzj/AAAHMNJREFUciNeCih1LET5dA5o1d/com3GvHkI5s5A6fVDKGaL8XM40QInXNxQ49NsJbAJML9pCD/wRxc4pVIJPT27sW7ds+ju/joGBgaw7dW92LDxbu23mXiLbgVFf/0NDAygt7cv/jry2wert2Sij/5FDyN3dlZ/BsL14Oj9a56OP8737LM9WLFiKTo6OrTFUKlUwoMPbMLNP78fv1csu4ufhJNPUpvmnU3i24pZWnlsqy1uXLKpDlwP1wnUViTPxhZJDxc/k35p/W+z3TXfZatEx+f42GGLMQhza92nrZa8UcCC3gB9i5UbP1+702ArYczHuWyb3WD0LlmSLa7xtLE+VfWqBt/WzCcNb0obLW4oPhDoyLap8jHBofUPAwi/M3Vi7Z0o7N2Oc7ouRcPnb0fbDdfi6HXL0DB+BjOuvgeF0iGU//7v4tty1ljRZIcfBi0O9GH066tDFS1xopSqvtxT4dP+0S9h6PBb4aLFNB9AU90cTDZdiOKZ3Qm6Qv1FIQ1d+JBtoTUcn3PHKqhlVyHYtQ25729A+0evx6nhN8IrtxU5pc6FOKd8GmOnP0BReFgYCK/StCz7Q5RyH6DwznYUsw3ag8YNJufE4PHkShFAHymWcdu2h3D/GsSvV0c/vbB48QJ0dc3HZZc9iRdfXIfrr/9zdHevTSwkolZ98Dg8XrCgM/7AnrRgiRZDvm/BRO2WW6+L39jasmVX+Do7eWaov/8kvvvtH+GmnzyE32swLGwAHTcTlj6JBgcN5Rv12XxjK2YQaFIUgzMHDqJ5+BQKVA+fIsLxMPW5eHD7abPh4Huyk/jY/G8a43JsePnMl3j5+N6kCwQakx4+2LlsTYORiY7RBLt3Jel8T2Yu7HxtdI3b6qxv3PlibNIFjnEXT18Mffmlwd4nd1y8IfBimKsOxM9kOeOzsi3s3Y6h9Q9jxp/cg+JoDkPrH47/6CuNvo/sJy7B0PqH0TB+Ck11cxD8ogdnCoc1ub74NU8uwpkDB8MrNlQnvh/lBn0gKQCgwqszTWPHnTEzviCL0uAQmmL50VWtLDILSmg5ka/Wf23birbyMJovDF9kKA70IfjrDQDGUC71ouW8f4MCeWb0nPJpjLSfj8zpD9CWL2I024CZqMMplONtMduA0Xf2ou3fLkHzeVngeB55VG9R1R0+v6Hsnew24CzOznco/E3pUjz42s8xe7Z+++mZZ7Ziy5Zd8W2gBx/YhIsvWYhVq1Ygl8thYCBnfNh3Klp//0ns29er/TBm+BXiHG68cbmmb3//SXzzhtvw1eEe7bacscD7YirxkPpTJJdTJx+9bbr4jNVyIkxz4nDx9bHVZ7+WcReGZ2uHr21p+fvQm+anie00c9LQ1KpnGr/YZJho0tiXNoZqjWVTf604m/Q0Hfvw84mdNLxrsqUVCMZqyjvuJk6jgPhKTUxj4mexMTGX0ltxaEXznMtR/s3++FaWKK+y3zznmiot4aWUQnnOf8CZ9/4voPJItABoapkDtehKDP/qZSiMVfWtjNWXhysv0gQotszEzHkXYKJ/P0YNV24AoC1fRGbRBZhouBANxw5guDiMbHszGtpmoz4CpqpkVaD2QCCqdBGJ1h+wccIvGwS4I7Mf//tzVyYeIL799pVYt241Hv/GXfFDyOHPJQygp2c3Xnj+FfT3n8TWrTsBhM/E0LeVfFqpVNK+nhz9uOczz2zFd7/9I6xb9yz6+6tPX69ceTluu21FvLCJfnbhe9d8Hg8Xduh2BgwHCLhFWEj4sDlaH6dTDGuTLC6THku+DCDGQJxHFvmJMVsf1Ykfq+QcJ242ORxTjq8JV4aPKScScmwYWvyVwAPCseQzSabJVm6PQRdNVwNmnJ91K9nlmivpaqER88eFowNXTQaPU0G2EXNH/KXSzyPnjfEZ/SfZ4pkrYkwY9DPWCxO2XEcY+mw5xuYaa52Eu6Qr2Uo42fKJ9sVvhgUyTRAzqy5ONH62+kD0ZneZ3DbHwoH6i89BfXkQQKvZXzGwQKE8msAkCDJoOmcwfNaG4RfxKpRHEWRPQGEyXuhFY/XlQQSoxznzPwYAaBsP37oazTagLV8EAMysfMiPbkezDag/dhyZjlmom9MW63j62LHwV8HjBZpC/Kpa9AR2jEEgrAxpU8Ih7csF+MzQXhz+8go888xWbYHyqU91IZvN4KprllQ+3DcXXV3zsWXLLjzw4B+hp2c3Ojs7sXXrTqxZswl9fQMJHlJ7660jOHkyj337+rB9+z4A4YLm0Uc2YevWnejs7MChIwO4884b4y8kR40+OPzgA5tQ/sYa3DOxB0Ewpgcuw4nEjBGfiC7CWCNTVbwTOFZ8wGk0xnTLfMJ1oP02vyf05AnO7EroS/lGvJTOyxhcRDctTgVd6ZimqhL0gG5Xgp+AB903YUvzSLOBYZTgz22xxJXNFq6jhA8IH2PMcHskXYiN1EdUgISpxCvBk8+F3IyxEc0xyNdBYLwoT4qrNA7IcSHFPpI2Gf0c6Hon4o3pT2Un/MxiTRrj+tM4pljGMnne2uLFYGOijgV6XyJPBRm0GXM70FWNmIjflOV5xHA3xRtlzuNBMT7cP0o/rMpiemhxLGCcsNWU21HMKKBpyb/H5NsjFV5jor8i+qa6OeECBpNiXarLLE7aR32CSWQ6ZmGyrl2uoRjDyJH9FZ4BTh17r/I2VCsa8kXtllQbOR7JT6B+6B8wee6/i29JZdub9Z9foAJdRdFWpGzzryj24eTGVXjku5fii8//tXbLKfq5hRUrliKfL2FRVyfmz5+N7u4t2LLlSbzwfPiWVWdnR/wAcXQLadWqFQCCeBGzcuXlWLduMxZ1deKRR1fjhedfwcqVl6O7ewtefHEdVq1ahzff/B/Y9uperFixNP7ZCNreeusIfnzrn+C2zH5kK1Hji4kNJz7HhpcYwIRGLCKmYmLTweF3U12TeHJ9vfCx6Jyw08BTOgf4YC7qaMKD22jiyX3F5Rj4+/rNZQuEY6531GHC3yRD8ou2DwNPn7iM4s3T59xIq28dOtqwMOWXpJMp9o20FrucsSLEmauWAILNHuNRU0w333hJ43OptrqOjfnAYsRZ89h+dKXBhpfU751HKWh9amXcTPFMjltmfxq/2f8S2k2yUP2v+cLzcPJoXqSdbMmiXOq12teBDKrfFDZjFYssn0Jj9gKM5I6Hx/kiTkXP3pBncJBtQHlwFKWGD9AGhcHh08i2Nyd/FTygzD3H+DYQ+uj8bBDgnswenLz3Sty/5mntllAmk8H8+bOhVPgQMoDKj2eGV1n+9J4vxAuYffv60N0dfrq6t7cPvb3hm1fd3a+gVAoXRwCglMJrO/ejVCrhzjtvxH//3v+KPxK4YePdmD+ffCwL4a2v+9c8jcNfXoF7MnswOwisRdOElwkfiY+LxiTf5Qubj3zlSfQuH5vkKEOfbevbx2pYIrlM8tPqaBozyYPQlxYDXz62+PSx22aPbyymsccWbz4+d9mUJj/T6uuDny+tj11n4yd6bNq3+ZXXgamsTRJPk962HJNwpnQ+86nuVb3qU+Friytf3M6mPvjopKBQbF6KiRmDaK+8IWXjOVnXjrrM4gptkKAZrWtHYWSOcX5oU3jLanxu1mudEe20zqj+mAO9ckP7MsUR1OXeRB4Bsu3NaBouhIsb6nzuMAhjCSUMdHxcMyQALh48jge2rcXrVy/F/Wue1n45PJPJxG8pbdh4NzKZDO6887r4DamrrlmCjspn/d8+eBQdHQr79vXG8/v6BnDLrZUPVynEi5nbb1+JDRvv1h4gBsLnaqJFzT98bjn+dNtaXFHsSxjBMTBhImHji7OJt21emmOeTD7ybIXSZperWEk8fI55v4S7q7hIx9JcG1+XPEpjGpd4Sc3Gx+ck7+tDSUcp7iQbTI3Hn2ncVuwkHr4nPlc++oz55BBtrnjgx7YYkxYCvnIkDEx1ypUPtpOpLWdq8blLhs9CiPe5YlrWa1Kcb9ND4uejnytua/WhpFfjH8xD6cf/6F2Lipe0GvnOXphF0zmD1noctY5suwEzRf6vtpG6GfF+dCuqMduIkfxEvNgptDcBAJqGw1+wKrQ3oe7/Rd+5+ZduqhWvF+dgz2fvw1XXLBG/HCy1/v6T8RtVJ0/msXv3vsq3bTqQzWaRz5fEX/iOWj5fwvbtu7Ht1b349M//K65oGETiw0nTbbpNt+k23f6VNnot5cPRypOXouWu64HvP+Fl2eSS5VD5uSj86m9lfnOuQen0CBqi798YWt2Vf4jJt0dQN/hqUkZd+MYUxXo0emvqyP541RM9ZNyYbcREfgKN2UYU2pvQNFzQtr87i5tKUwo40nYe3kYnDn76j3HLrddh8eIF1gVK1OgDxraFUT6fR2/vAF54/hVcsuc5fGr0HcxG8GGL3+k23abbdJtuZ90+fIsb2yKDNwWgfPXXMHm0J1xkCG1yyXJg3z9V3royt8kly5HpmIVy4ne7FCbr2hPzFbIodV2Eif6q3MZso/ZwcfT2VHT1Bgiv4JhfIP8XakEAzA+OYz6O49pte9G/57/gp7lm7Pnsfbj4koX45CcXo6NDobOzM7HgkRY0J0/mkcvlkMsF2LevF28fPIpL9jyHxbl+PNAw+GGL2ek23abbdJtu083YFLLAR38fwa4NXvQBANXViDPbjofPsXB+CpjMz0V9+U3n6bR5+BRKFy4Ev6IyWdeOc9Qk8uNcdh6NAOpnzMLkifB31ibyE2gDgGyjtrDhV25+5xY3WosXOsAVW9ci2ArklcLh0lzsmBH+kujBT/+xcfole54DAMw7/QHOy5zA8iDACkpQFKdNt+k23abbdJtuH8pW6roI9UcmoII6r7/tsy3nogSgtZyvfGRPHw8ChcnsCbSqkvfFAs6mvjycWNhErelYPwrzPoLJE2MAgvh2VNSiBY0253fxyg1t0bcl4mMACgFmT/waHx/6NRSAm7ftjcejB6nE7xpMVHlMxcUartu/9pYWD4l+GtMPV5v25+9Wm/ZHbU0h86G5wJ9tORelq69H5rlu5CF8SZg1BWBs6WeAX/0TmgHx5JltacNEfi4Q+P3UUdO584VeM8L58SE0Yj7q57ai6XSAEhA/ZwMgvlITtUJ7E7JQqLd+FZP1i0/MK7bl/WnpiEz6Wep4SzAIAOSC6r+gsuVQmb454fwyqEVX7YuQJtskHtJWmq9kPRN91E5JB0+8TT6w6UyP6c+V+NhMfx2cf4DKiotJP4O+qeZ48vTODTD9fenS6uKY522Pjc5kg8U3Rn+6dDDJsM3/bdhdi/+V51xfHQR7JDxccwHBH76y6dZmq7A16WmzT9TH4Xtnn2m+wR7aF6DkzjPX1mSLK14knXzsMtAV5oULi9L4kF0fRC2LhveOoHX3DkQ/q8D5A0C51Itw2WG3KXPkMApD/eF52MNmugXCGI6u2jQNF+IrNnw/jwB1Qxc1lOnrZ/F+5YC/hhj1QyHxtUY+l8+hdAka6Dy1fgPvROM6CzbQPsAsi9tlsonL4FtKH9sW7Qu6JPCSMOHzomOF8DevHDob+RroJFlGGYKe1F7+lViaIHFTeiG2+UHkwfCljJy4CH2R3fzLtdxuDVef+DDpR0xJ0BlsMfE34six4vpDjyeweZJsMD0l3V1YJeLDVjsEPydsoJBV7JFoXDyknKBNwltrFl157iaw8/A3XPqb9DDEaaJOWuoAyC5nq/UJOiVwk/SWcoPVFNNcW34bz18JmiwC5MW5sW6R/xi+PvFiwsOa2wYbXfLLV38NwYF/RMvgq1q+QeDLmyiv8sAvAGSiN5oCRk/zTuDH52g+qBzXL5yNifrzMXFkP5QCStlGTTd+a6rQ3oT6SNFIiIoY04AhY/S3MugcED4xjUryihSPE4XM107+YPsCb5Bx7YSoqvzA+NBgiekIiAGzJ8aA2RTrzwoC30rJEO8HzDYk+8XgI3Zq9Kz42Pyg8eV6B2ZZJp5xwAt2gNirxZnkQ0KXWNkLNsUy6Zbhy2ND05nZCKFP0j0RD6Sf54nGm8UE1ZljKMniPCX+dCzCKBBoNKyifnpM8WO6JU7k3B5A9wGxhwa0GCeRbw34SXHF8aJyqD0JO3k+Czyk3IlwoLWK4k1xoDgbc1LCmtcYi7/j200cW4I5xYzHp8mXiRoj4KX1q6oKiT5BJ9qv5Y9gmxi3NMYt/LX4l3QR9OVXo6W5Cf8xfDU/Kmgx5sIjoTeJNSmXTPKr8apQfq8PM4dfi3GlsSHGS5W9LA95nGmfiaZj/QCyiTyCgvYHBW0cQ17Tab0ZOz4e96mWKqNs4wQK7U2YOZ6Pb01Vb0sRICJGsXM5WNz5dA5VOlIuSPLiDg5i1KrOQ8D2uXywYKLFg8iJeVA6Joc7U1EduQziKBGLQJhHbeC2KcE2RfZ58KmkPIpdAkOCleRTrTAz/5hkSTxjrGlC0X4ii7ijKo/iROiCgM1jNsU8In1ov6EYaQXFEA+BoY82GuM85rRxKZYEW2LaaJ/Yb/QjoPlHkiMVvFhdgpU2l8WnmIMshgjkeg4Z8oPGhYYTkRPjSHCRYkzCS8tbpqe2OKE+5zYqA0+KDfRjLRbINuBzeI2SsEZVf6mO8LzU/CDFHZclbBP1gTCl+CR0ov7hslGVy/Oexgm3N+AYEewSNYXax7Dhvk3MVUxPHgOV2y2izEhZQh/ZodUnjpUQjwC0P9o1HCw2JmqNIR4UAtS/97cIKgxN51tTvEjygCwyHbNQGh8HkNfjhGwl/LV6DGhXvkDoQ9Lqt+eC8Spg+YnG8DZUZZttnEDTcAETw8PhbSkNiVgTtgVDi42bbgNU0WUyOI3Ux+VI+jn0qiKSUo7ES9JB0geGuZLeAp8ABEvHNqZ14eCDqUUnL0w5H6mZ5Nv09tkCsn5kTMPVZpsLb8lWyR6TbVw/H9nRmElvk49Mchx2inrb4sVljySTNt+4MPFIU29MeUGbxMvkDy7DJNuku0s/G6auuuiKIT5X0kOikWzi/Ll+Ljlpa79P/vA+VxNxygIqb6z3iavyrvyz2VjDOSChv0mOZGNazKlNAJRSGLvg86h/7ydEcT+7Y1Ifn4bCkKlrQ6k8lLgtJbUGUQkJEINjo2MlzZOC3ydhYaCHQOsqNhLfwGMen59GB1Nwm+xhTZl8IWxjNi65RmFI2m+yx9d3rmOf+bTfldCuORWZitLxuS5bomSGZdyEtS0fJBpbURB0Msrm+WuLV5NfTbjadJdkU/3Bjk21xeekYJJhywdpa8Jammfqk+S6bOTNJ5akumXyias2mWzmfHnNlPjZcsckx1VTbPHpqiO8z8SHN9OYIf+UYd+qv5RbZF/xfi7XlQOuWPWpqTCMETkTdW0IsifQikCOTY6/ZKMkT6xVAUqVy9yZykPFtkVO3dDHK18odgUJNy5NIZJ4+hRun5OgLVBdBTltkPsWuTTzbHJ9CmgtBbdW23xPKGlwkuZLLQ2+Lhxq9Y+P7rY8MBUSU+ya5kl6QaA36Z1mX2ounF3zbHrVEhNTzdfFG44+3zmumPW1y8eHvjXDx7c+ueGqt64aAQMP2mrFyaVTgo+C/HS2hwyqt+0c5bvvss9V+9P41SOOM3XnAgAay0PhsE+s+9hhGieNLmwa29vRlMuj0JHFxPAwso0TlcVNmhObb9L4GiDR8b7f5onNxsM2rxZbz6aQpCmCaeelsc1Xfhr+vsk6FX5Jo1vaE46Lty99msLjwj7N/LOJ1bOls+mfJoangm8arNLEZy2YpI2NWnXgc9PqlUa2ib/UfP05VXkp8okGauCTtmalzUdvG2ro5/u2ebXUGxd/0zhpqkUhGA/ihU62NIF8JtyvXrmxMZ6qhOItTX9aUHz6ztZxvglu0kNqtRQfX71NfHz423RNo3sa+3xk2uSeTZL78nLxTqMfb7XEV9oY8bHNRZfmJOWSVwuuNr3TYOijcy05l/YkZdPDJNdliy8fl161+KEWP/nIr7Uum+iNcsgzN7XkXlp70/jV2waLPJecqTwnuealjEnVopCvLyGTn4BSQD7TGC9w6hEQBkDinqECYVyho33xPlEiMSfqs8hSvJ/KCiA+NMt5aq94EjrOn+oo8hBwEGUrdsz1pPxNGDA7E7pB52fEgOtEA4LLpbyZbE5n0lPEz5DgShrjtjD7JKw4jgnMmT6JeGCxqc3nvLkugq0cCyO2UrIS/Yw2C7Foeo2ZP6clxp0UI0jOEfPIkIPafOZ3rocxd3muSf6W8kfiw+VHtnAMqV6cr8SfxY5mB/E5/yNfqgmaDjxmozl0K8SiOJfHtWCPJsMSXwlsuS10TIprw3ECQ2aT9OymNVaoLhYePOe5rVROIkdUSdOb22DEjOWbqV5IuopxLdUKhw1GOu4TU92m9cCCIY+pRHwRvhpmTLbt/Jt4ULvSooVNEFSv3GRLE6gb/Xj4ET8FJF7ziz+SxI+JIwNiiFbDSB8HX+yjPOlcOkfQi4/TZqTlRY3YkphjsE0rOCop36QTHUvYzfWTxiQbBF6AbE88xn3I+Tv01AQ4cEvgROKIY8txM+mUwNPgZ1MfLHy0JGd2GumEeLflhxFTA40oV9BV5OvSh+U1b6J+3IemnLDFt4kXx4DZKsWCK85t+PhuJRxFYkEfsR66alPUHLlE62bCVr4V4tZYhw3YGuPHxIPnnOBnWhNEjH304DZKcgSsTXlVnRMFp1lfjjds/B0YOvHldnC7KW5EB4o/11nEV5CTaK54NfnCkIOibhZs8tlGZCczCMYDrYaEV26oAREI1FpuIYhSQaVLQ67KK1KA89X6CG9bgdL2qaEUj8qxaAOlVVW6OOnYONU9IPy4PVwXbifvTxQcg3yTbjFvJfCkBcSAQTzGfWiQAwO95FcNa46LgCnHFow/bVy3BI3Bz4k4qfRpcgTsYbDTSMfsozpL+ZF4ZZTIk2KBzqGxx3XVFm+Brk8MFdFVi3eaF9xeA458Li8+tvhOxA3RM+FvPofiS+yO6Hmci3kS9fG8NBxLuEpbWz5odIaY5T6lxV4q9NTvkt+4r3nccp15nidqMo9n4ViLG5Zzkp9pDNC5vpgGjIbmpFSPE3FAY5/nL9GD4s7zM9IrIHM4f14vfOwSz0F0LtORx2Ssmsnngh5SDZDOZbZ4pToZY4TFqrRWsGGTLU0kFjao9NcNfbyhLAXwVG05brRgxIWHHYsLHNM+P0m4dOF20pOBICOxJURTgpsg36Y3t1Ga5+TlMabRSYXEwsOpr8O/RhrOk2Lnih9Dn2mOzXYjjha7EvaxOYl+soVhLufDTwwmWa7Yo/JcfrHlM8fCZF/amDfmrCXmXPPT5IuJnysvbJgZ8ffJFU9Zoj8MOvjycdY/R3xLNlr9I42Z4sGxL+EYNb1fQSFwnoNMtYXTu/RJVXOELYhsEw84eMOAqUYn+E2qQWlznvIAkyHR0IVNEIRvUSVvSwnCImYmsKVx2nz6bIkr0lsSPlUQGeT68PI6diS+ZKNzYWdIGmuBsBQLSQcfW3i/icZVXG04ifgINBK9TWeTrbX4i2Ng09kk18tGQ5IbF/YOvLUYMvnWQx+bHT58jLYZ5qTF0qSD1ifh6IgFW75xHgldGa1vvakFF18sJFqfhffZ1EcXjc9JXuNlwlvY914IA1BQCILAyduPlzmWnHgIOFC708Q8b964OMYTfD3qvi8vTlO1L1x8AtXBIEC4uPFhlGY8Tf8/N23a5jpxSbJ8ZU+VjmfTavWxz9yzkVsr/9+Wvr7zfeX7FJx/Lr2mgl6aN9X1w0tmDQWzVrm+fM42jm0LKJ95Lj1sV0Rt80zjU73IsbWz9a9fX7RESK/HVOQRIPv+bHM6jV/T+LSWGlwrPwCJFVyE1f8HDajZAn3I82gAAAAASUVORK5CYII="/>
          <p:cNvSpPr>
            <a:spLocks noChangeAspect="1" noChangeArrowheads="1"/>
          </p:cNvSpPr>
          <p:nvPr/>
        </p:nvSpPr>
        <p:spPr bwMode="auto">
          <a:xfrm>
            <a:off x="1730375" y="-62388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endParaRPr lang="zh-CN" altLang="en-US"/>
          </a:p>
        </p:txBody>
      </p:sp>
      <p:sp>
        <p:nvSpPr>
          <p:cNvPr id="43010" name="AutoShape 5" descr="data:image/png;base64,iVBORw0KGgoAAAANSUhEUgAAAPoAAABRCAYAAAD7N7sQAAAgAElEQVR4nO2de3xU5Z3/32cuyZlcz4QQJlw0o2KdCEqoVJOKlrhoE190W6i2wPLb1rRuBbttF8q2yPZiEbsUe1O0a7XdrgVsFVqlhFbX6BZLWq0ES8qoIBMNkCGEzEkyyZzJXM7vjzPnzJnM5IKCCe18Xi9eZM7lOc9zzvN5vtfneQRVVVXOA6iqiiAI79nvLLL4W4JlvCswFmRJnkUW7w7C+SLRR0QkQnxQgZxcLPac8a5NFllMOJwXEn00hE+0439iG+GjR8a7KllkMSFx/hM9EiHQ+Cv8P/oB8b7e8a5NFllMSJz3RA+/3cax7f+DYMnBNrlsvKuTRRYTEucV0aNdnUROHIdYTDugqgRfbaH7j38hZlOJyoHxrWAWWUxQnDdED71+iNdWfprjW39KLKwAEB8IEXjxOWIRCJ86gfKWb5xrmUUWExPnBdHDbx3lzf/4MieebCSnsBBrwrMeDfbQ98rLWO0QPd2DcvBAUtpnkUUWBiY80WO9Pbz9nW/Q/kQjpQuuouTGOrDbtXOnTqH4T2CxQbQvSmDfXpQ3j45zjbPIYuJhYhM9FuPEzx+i44knASieezV21zTjdKTjONH+fgQbqIKK3HqI4IGXxqu2WWQxYTGhid7zp99z7McPo5wKkWOHwpmXYs0VtZOqinKyg3j/AIIVsEC48zSnn/8tsb6+ca13FllMNExYokdlmRM/fYS+VzUHW05ZAdZSF+ipqvE40WAf0VgcAMEGsZhK4A/76Hv15fGqdhZZTEhMWKJ3P7uLrj1Pgw2wgbVYwiYVJ4kORBPed9AOW2wQPHqUrmeegkhkHGqdRRYTExOS6JHj7XQ+/hihE0GseUAUbLkOLKIjheg2XY1PQMiB+AD0PvMsA6/uf49rnUUWExcTj+iqSuCZRrr+rxlsYLEmDttzUO225HWCgK2gEJvVgj4tRxDAIkLfXw/T9buns1I9iywSmHBEDx8/wanfNjLYrUlzfWqdEBlENcfILRZskyaB3Qrx5GEhB8L9Ubr37GLg0IH3tO5ZZDFRMfGIfvR1ehJqt2DBYHp0IAQDA2CaVSu6ppOTn59yvy7VT7/SStdvfp2V6llkwUQjeixG6PBrhPzHsJjNbxvEgjJRuSflcvsUF1bnZNRoajGWXBhUVDqf2kn/q6+c+3pnkcUEx4QieiwYpP/I6zCAVjNV+2fJgagcIny6E+JJPV3Iyyd/pod4FBiyQIw9H7oPvEb3nt2ogxHiof4UbSCLLP6eMCGIPtj+Fp3b/4fw0SPEEyEzwVQzwQaRgRjRjg7i0aT4tjocOK++BqJDS9QGB6Jw4je/IvLmEbp2/IL2799L7NSpc9yaLLKYeBh3ovf8cS9vrF5J5+P/jRqLEAsNEIum1sxihZgKwTffICp3G8eF3Fyk62rJd5cSV0iV6ipYCyDY8lf8Tz1OztQLCOz+FW9+4V/o259Nk83i7wvjRnQ1HObkow/y+pc+g6Ugj4s3PYC1pIT+N14jpqZKdFUFqwDBw28Q7TyZUk7OxTOZXHuTRvQhEOwQi8LbDz2IXSpi5pafEY+HeP1z/0znz3+SnemWxd8NxoXosd4e2r65mrd/8G2m3bKC921+EMf7KonIMtFAD9ahC7KqYMmDkLeVyNtvp5yyFUtI19ditZHmlCMONgkG2rs4/tAPEafNYOZ/baPsHxfz1qZvcPSbX9Vs9yyy+BvHe070WHc3b6xeiX9PIxd+/T+Z9vmvgjUHUCEaJh7NLGUtORDuiXPqud3E+02TViwWCuZeReFVVzDYR5pTDrRw28k9T9Fz4GWsxU5mrPkmM+66G/8vt/Pmv/8rsd6e9JuyyOJvCO8p0WM9PRz58kr6XnmZy3/wCGUfvRX6+xFEkYwMHQKLCKd2P0X4WHvKcbFiJqXXfyhdEwBNG8iF0IkgvU3Pofb3QziEa/FyKr/3X5x+4QXeXL0qS/Ys/qbxnhE9Hgrh++Zaelr243ngEYo+uIB4bxDyHVhycwFQhRHWZE8Qtu/wSQLPP5sSZrPkOZCuqyVvRinRIOmtEgAbnN77PFG5G8EhEg8OIN1Yh+f7D9Lzp9/T9q27iIfDZ73dWWQxEfCeEd3/s4cJ/O8eLv7GRgrnfZB4by+WogJjtRgAS64NweEYvpBE1tvJHb8g2pu6tHPhFXMpuHI2sUgG3UAFqwhB70FCh1rBbsdSkEesJ0DRtbVc9I3NdP/uafzb//ustTeLLCYS3hOi9768j2M/exDXpz9HyY2LiMk9CPl5YLWmXGfNdZBTVKT9yJTbokv1/S/Rv/9PKafsZS5KauaTIwrEQum3ClYY7A1yunmvlhZrt2PJz0ftH8D54UVMWfZpjv/4fvrfg9Cb0tqC0pZcyFJ+sQn5xSYIyu+8zDYfTU6BJqdAS33NuyqLoIzv3vX47l2Pf/u2d17OOYRv3Z1GW83vEoCgnH5sDGU1V12E0tpylmt6ZlDafGdUd/9D92l9ZxTYRr3iXSIa6Ob4/d+hcGYlrltXoIYjWArzEXLsadda8/KxO52jljkYjnHqNzspXnBjctqq3U7xdR/CceFPCL5xDIuDlMkuOvpbXyXW14e1pAQhNxc1HofBGK7ltxH8y36Obfkul3z/v7AWFr/LlmeGvKeR/ctuBqB8aQPO2R4OrVuj/a5bjGfbjndUrljhxiFJhGSZQHMzvvs34/7qBuO80uZDLHVCgTSm8vy/3EYo0eFCbYdSynonaKmvIdDcjEOSkOqW4HnwkXdVnu+hLQAoXm/6s+pqUI51UPX8fsQK96hl+fc0an/IgZTrfevuhEIJ9+fXDPvefPeuR97bRPmiJbhWNKRdp7S24F27CgCxonLkdgdlWhbMJSTLlC9tQJzhGrHeykEvHXt2AjB3226kuvphrz3nRO98chuhN17n4o3fw1YyCRUBQczNeK1VzCOnWCO6GtOkcCYINuh+4XnCb/vIvfAi43jeJZfjnPsBgm8cQ41o1w3VDELH3yLSdRprSQkAFoeDuBrCPmUqrhWf4ejXv8LpJx+n7FO3p8x9P1voeOxR42/3ylX4NiYJ5N64+R2Xq7T5CMlJKe6oqDT+9m/fxqGVy3HO8lC199DohRVIiOUug+jy3ib4avK0vKcRRZZxLV025roFmpsBCMkyYxpqgjK++zO/D6Xdb/wtTi+nY3vynSoHvQRaNfL71q0ZdeBUWluMdkrVtch79xE4sE+7PzGYyI07qdqzLyPZHZITX3OzNrg+vIXqltTFSTu2PWq03eH10lJ/CPe6DUjX1qaVJe/dl/yGcgBGIbrsTWof3nV3Ul03/MKo55ToytE38P/q50gLFlJYfS2CRUCwZyY5AKJIrsuFNVdAjasZiQoa/0LH2ji9ZxdTP/cF47h90iSKFyzg5DPPMNgbxFYw5EYLhE68xeBbRxAvnZk87BAhNoh0XS3Stddx/ImfUbTgxjFJgzOF3KypWc5ZHsRZVcaI7JzlGf15QRn5QOYFNZSDyY/unOVBnOFCfrEJpd2Pb50mUQKtXvwP3YfrjtWj1tMsKd2fX2/8rQ8aAOIMV8YOOxRyoqMDOCTpXUtz5eA+429xdo12LEF+cbYH9+y7AChftCRzfUyqbqBxZ7JcucPQtsYKcXaVqeD0DUTkvalqdaC5GTaup6pxX9q1HbuSdfE8/CgUSJopUSAZfcP82/+wNhA5JImqx0Ye0M4d0SMRun+9g3gwxORPLsfiyNdsY8vwbgFrXh72Cyqwinai4cERi48ORuhsfIqpDXdqc9IBrFakD1xN3gXlDB44jEqqY04QINobRPEdpoi61BOqBUt+IWVL/xl59R10//Zppn72zjQ/wruB0tpijNjS/FpkXWVM/AaNSIFdO4wPbYZ8YD+BvcPbY+61dxl/m69z3b4q7TkA3mVLUOSOjGXp9XRIEr77N8D9muYRMJG2Y9u2MRE9sCvZCaW6zORLQ4GE+6sb8D90H4fWraG8bjHlKxqgUEQ2kbN82TLoU/A+vJyQLFP54NYRNQ2lzYdvY3LgMg9o0vxaRKncGHxBM688mzYPq7qnvOely9OepWsXzupq492ZB04zzEKAAgn5xSb2L7oBgMqNm5HqFrNv/lzjGqMvVdcizqrKWKaOc0b08NttdD/3WyZfv5DCWe/X0k1HIDkAVivi9BnYiooYbO9Knao6FHHoP3yQvpf/QGHNdcbh3BkXU1w1l77Ww6iD2kIUZq1AwIpy6mR6eRYLxCIUzZmH8+r5dO95ikl1i1JMg3eLDlOHd9YvTpEmzvn1KK0thrRUbu1IG/Wla2sNYiltPpRjvoxEU1pbaFlUi3vjlhE7ffnKVRmPm4ngXrs+RWqZdQ5pztxhyzYQlFOI45ztGf0eE/R31rFnJ+JsD0q7P0meWR4Ce5uQ9zYZnT6wa8eIbRYr3CnvtckpGGW5P7+Glroa45z7jlU4ZoysZTnn1OBLXOve+EDKObMmU75oCYrXq/lQDuxLs6eVNp9hQgRavSitLXRsSzpCQ+0+QiYTRX8HAM5hNBczzg3RVZWeP79EPDyAc2G9JhVjEbCmO+CGIqd8OjnTpjLQ3pXZ867Dou3OcmrXjhSiWyUJ57UL6HhqN4O9QW0WW0rV4gye7tIGHrO0tlohFge7nZIb63j7lRcJvrqf3AvdjCWZZyzQJZFDkpCurcX31TuNc9L8GprnJ4mjeL2aA20Ydd67crnm3KpwI5an2nJ6hzq0cjmiJA3rpBlOGisdSRt4LGr+SPDvakz5naLqjoagbEjB8rrFmoTfvs2wycuXNeC6YzXeg8mO7l6XWVpmglmjEmfX0FJXYxCo8sGthA7u49C6NYTafWkk1iHV1VMbUPE/dJ8xaGSC7nAFoC89IiKbBkMA7x3LUY6lalv+X2rEd0iadpGU6NXDPlfHOSF6rK+Xvj83k3vhxeRfdbU2KyUOjEELzimfSsFllyL/+S8jO+QEiCoR5Jf2ETlxHPvUxMYOFgv5V1YZ6numwSIWGoBwBPKGFB4HLCpS9XV0ui8j+PIfKam9CaGg8EyaD2idyHd/qqda70RSdW2aWtdSV0OozYejwo177Qak6urhbXYTASRPVZpk1tU9AHFG+Yj1bJlfCYUSVb9sNGxCXbKU1y0GkhoCkpOqx3aMqiamtHnXO4sigOac0qHIHZqH26QFBQ56Cd273lB5HZKUuW7DOPbM9rO8Z4dBHOcsD6GD+wxnnO+hLelED8pJ7/6uJlx3rE4bFFvmVxJo9eKocKc56YYikGirHpUwOxidszxGXUAzxXyb7jHOjcWXdE6IPthxnNDRN5A+dBPWvHxNetrG9qicklIKZ1dhyXkSNZrZc27GwPGjBP7QRNktK4xjuVOnUTjrcnpfO5xxsBCiKmo8li6n7XaIRBAKCsmbdQV9LzcT7uxAfAdEl+bX4C5MEj3QuNMgp3PRkhS1TrcT3WvvGlMYy0wA56IlKZLZ7GgqX9owIinlF5uMwaZpRnpYs2PPTjrMUkqW8W3cMOYQoNLmS1HbzxRm55RuJuj1dVS4EWe4UA56U2zV4eCcn37OOb+W8oSzMiTLmvq+bjMUiigHW5i76zkARCn5bnSfgRktK5akEzkopwzso7Y18Z6k6lqcsz10bNeO62G2QOs9RrvNERUpQ7sy4ZwkzChv+8Bqp6BK62RqNDq2UJWqgt1O3sWXIk4q1VaOGWVRmNhJmZ69L6SsHmN1liJe4sFqsWoz2oY8WnDkIuRmTrfVi8mf+wEABo8dG73emVAgGTa1dG0tipycRytVV6c5qKoP+sYcqzYTwLUoVS1PtftH7gRmR1Llg1upDaiGFAeo2buf2oCKwyQxxIqRNYSUepqk0plCaW1BObgPhyThvmMVzvrFOEyEE8tdOOfXIppsfuf8mkxFpX0L/Z8oOVNIXrVHs507tm3j0Lo1KO1+7TrTYOm6Y3Xaexrq8W6ZX0nz7OQ7G+07mE0I5/waxIpkm9xr70ohtmfjAynfzVmfrMdIOPsSPRIh1ObD4sgj/9JZ2jFhlPEkEiH8dhvxcARHZSUFl1+JNKuSgfbfo6ojjBEWiMbihN88guI7jHjRpdrjcnPJmzYdQXQg9PdjHi1UBGylU1JSb1Ogalk2BZddjmCzobx5mILqa7HYR8jDHwPkPVpncFS4ESvcSXWzwn3G4SazqjpUJfWbPfmj2G5mNVi/Vpcsjgo34qyqFCeRo8I9rK2aCebwD5LTKGcs6Ni1A8nUiXWnmw6xojLtWMe2R5HqFo8tSWaoZC6UaLlVGzR1zcu3btWwjr2hYVIjgtEnpzjKAKRRHJCBvaZvVrcY78qk91455sO3Kel3CBzYZ/QlGN7PMhRnneix0AAx/0nEqVOxTy6DeBzBOjLRY6EBOndsJxobxF25gZzpF5B3xRysTXtRB1UEkWHj6SqaR3Lgda9BdADHBW7ySoro6w2m3Gu355J/0SXD1kWw2SAeJ6e0DHtpGQMdJ1CVMLwLopvDaq66euQXm1J+n3FZCcK4li5H3tuU4rAy7OulDSN3eJNqqdt5KeG+hLppdhKNRQXV4d++zWije+16g1SBvU1j6pyZtJuWRpNkS4S8zMcCrV5aPnYD1Xv3D58BGJTx3t6QZlKUr7jTyETT35pZZTfD/P30wci9br0R+pq7bTe++zcY32U0n4Y+ODsq3MiJ5Bsdvq/emTJAyo07jWebtYrRcPaJ3iOjnDqBY2alpjIPhiFnpDgZqINhlLePGL+F3FwKrrqG3LJtDHR0jWpfhE52oRx+HXNo3DppEsJkJ7SdMLQCVQXHlFIKLrt8+MIsFggrIDrInXEh4fa3iPf1Yi08cztdh1nqOOfXp4XVzgRihZu5u55DlJyIs6porkqG/zzbdlCesNFHI5PZG67beWbJUr5oceLYvrRjoyIoG0k6zlkeXHesNoguN+6EEUyUkWL7hn0umaTvEOkZSuSKZyKXf/s2o17lSxsM08JZXY1r6TItpLVrx6iDZCbzyPyNpbp6AonEG+coWpVZY5Kqa/GtW2WkMmdqX0pYbThTJQPOuo0+eLqL8PF2xCna6KhiGZN9Hu3tI9x52liHvajq/UizKiGaYeWYIVAHw/QfeZ14JJlkYxELyC2UtDWo4oAA6iA4Zl5G7kUjxMYFAeJafXNd01He8hHtPj1q/YdFUKZjW9JWlerqUzuF6WP57l0/6qSKllvr2b/oBjq2PZoi3R2SREt9TUrsdSRksvNS1P5EvcySTxpjx/JtXG90VM9DW1Of2+pN0RyGwr1uPe51G9L+mWP27rVaZln5imR40n3HKubueo6avfvTSC6/2ERLfY2mit++iuqDvhT1V+nw01JfQ8uiWnyb7qFlwdwRJ5bo308Pk+oDBGjENt8rmuzrjGWZpLfc3IQ4vTwt8WY4yS2Np0SPnPIz4GvDMmWKdmBMKyxbUKNRBk93EuuTsZZMJmdGBUU119K5dx/xaHRE73s8IhB+8wiRtqPkzrxMKzHXTjwnVd0WbFAy74NYpUljaou9dJK2zvzpTkaYPJsR8p5GOnbtTHFIldctTlWZq6sNFVNpbcH/8JYRHXLelZ9J2o8PbUkZMNxr1xM46KVj+6N0bH8UZ3W1ETLLXL+Ez0DvrCbJotcrxUlkquuI7X6xyQgFVT64NaNk9a67k+r5mdVrcVYVmfQ/8wCW1EBMEYZlw0cYAnubcH9+fUo+gejxEGpupnxpA+XLlhHY24TPlI8/7Ow/0/cTp5drMwVNdnn5oiUox0xEHyVfPSX8KAfwPNaEfNCLQ9pqZPqF2g7BHk21N/tLziRF++wTvVsm3NmBvbBozPcIFgsCOSh+P0qbj/ySyVjsOTgX3ETBjieQDxxGyMmsGAhWiEVj9J1oJ9R+zCC6arVhM+3VFh+EvAunU3xj3egZegnYiotQugMwMPZ15Xzr7sS/fWsyhdT0cZzza1JUZnMutnftKsTpw3u0zYkiehjIHKeX6hbjWuE04sGB5ma8a9dkdPSlpOJmsMXFikpt+qcpPXS4vPGh5XpXaNeVL21IcWSZU0BDbT68tzdkDNNlyj+ApIPMIUnGbDDjWMJxOBwyDZ5Dsw7N2YCVGzcPW575+wVavThneShfuZ5AwoEWOOhFyZA74Ft3J+W3r04jp9mxWrWrSXvuwWTSjmvpMpQ2H875tSjtfiNz8kx9O+dsPro147pOw8NizWHwRCf9ryZV1/yqeUy66R+w51lRR059JyrLDJ48YfwWYlGIRlEFFSwgDILz+ptweEawz4fWyXbmr8f30BaDRJUPbk1xYEl1i1OkUOCgF/nFJrzLlhBobh5WrTVPJHGvvYuqvYeQ5tekdvQKtzbZwZP08CptmWeqpaTiJgicYosvW4bS4U/Jd3etaBix3UprCy0rlmhSaOPmtAFmaLpsx56dtMyvTFORpbp6qhr3pfzzbNpiOr9EO/Zg0iQ4004/FPKexmSOQ8KnMBw6HkuNOihBxfg2kCSugT4Z37o7kfc2pZPc5NRzr12POKtKG9Af3KAl4SQGSrHCjXRtbaq5dYa+nbMu0a2OXHLzcoiEEhsxxMe+O0pIHiTw0otMvvWfEPLzsTgclC36JKd/97/IrcNLdSwQ7w+iHH4ddTCCkGMnGuwlIssIqkBsQCWvvJSpH78FiyNvzPWJBcOo9oQnfozQ0xM9j+3Q0lwToRGdjGZVXlezzVDavEDyIxpTTKur8Ty4FcXrTcsQM3d0aX5t0gtvsmFT0CfjrK5Gml9rdCazZJGurTWmqeqSZiS1Xd7TaISE5u56LqMjsPz21SnZXaClnYqlw68/oLS2oLR3pEh43fklljpxr70L55yaEedhD1euMdj1ySn1ct87fPjQ/9B9KZoFkBp6XLsB19JlWiJSIjvRbMYMhdmpZyS+yB0pU4n1uprnngNn3OazT/SSEuzlFxILaBstqBZh1Exx1WJBELX0tb5X/kzw1VeM/PWCuVdT8qEF9L9xlFg0hpAh/C1YtHTY/iOHiHZ1Yp86jVhPD6GuU8TCKlYbTF22jKIPXMtY8tb1OkfkbgqmzMByBmaI58GtiDPKtRj0kLnOkJiI0Zq+WAJoDiWzNJH3NOLbtD5lUQG5udlIf9RRfnvyHuecGuQhJE57ztDJF+ZwUWJ2mWfTFhQ5MKL3Xmnz4dt0D/KeHbhuXzXiAg1ihdvwdDtnefA8tntUG9N7x/KUd+WQpGSCUGJ22ztCgZRGHNC0pZHaG0pMQ9UHP+/aVdDhNwiuQ5ye3q5Mtrrh1DOZHkO1CfmgF7lxZ8p7OJOwmo6zTvTcyS5yKy5GOalNjBCIM3LWCwhWK1ZJwipA72tHOPXb31B49QfBakUQc5lU9xE6f9dI6OhxVJuaXpQFCAuEjh8jKvdgnzoN5c3DDJ6Uiakw+aorKV/egFCQn+nx6UjY8OHu0+RffgW5ZVPG3P6hI62zuhppzlzc67ROWbVnH/5djZqDRb9mfq2m2g4hiVRXn7aYgGvpMiObCxIOLxNhpLp6qs5wtM8ULhrOKWaGb90anPNr8GzyjclR59m0GXGGa8QBwQz3vQ8YkhHAvXHLmFfIGQlihVvLqNtjetYdq0YdOMqXNiDvbcKzaQvirCrj/0zll9ctHjH91zzXwb12+Oe6li4j1HYomQIrSWc0cUfHWSe6zVmKOHUq0eOJjRastlGJbrHnYJ9Sjj3PSiQYpfuF3zFlyVLyr9ReYtE111Facz3H33qceDw27OSYaKCHSL+MIxahp+UlBruDOCYVMOOLX8ZROWtsDYjHjaoOHjtO7owZ2JylY21+CsRZVekLDBRIY16ZZTi412ofeqxZYGOBs7qa8hV3nlHdznjZqzOUwuJ0tzHH3jm/dsxZYGOBOS111OQivT5DpriO5AD0PPwo4sZy/Nu3Ik4vT/NRGPkQ00f3nuuOUOecGi3E+Q4GO0FVz+4Wo/FQiGNbvku47XUu2fxjBDEHItHhU04BVJXu3z7NX1d+mtBbAWwFNi5dv47pa75uSNfOJx7jyLovMnC8G0uGRWpURSDvgjJm/fSX2F0uDny0jt7Wo1z6tTVc8OWvYckfY8JLNAzWHOKKwuE7P03hnA9QfvsqhNwRVsbJIosJjrPudbfk5iJOm0GkO8Bguw8QRt+tWBBwXDSTnLKpAESVKCd+/WuCfzEtj/TBWvLnvB/Blnn3Y1VQiUdjBH7/HMceuI/+144yfdknmXrHv42d5Ghr1SEIRNvaiMjdOKZORRhpkMoii/MAZz+8ZrHguNhNPBwmePAvY77NXlxM0cXv04qwQV/LQbp+/biWZw7Yp05j0nU3kVNUkHF1VyEHon09tH3vO7z1wE9wfewjXHTvt8mZMvbZVoCRlCMfOgBWO7aLLhxz3D2LLCYqzkkPzi2/AGt+Pj0H/gxqwnk2ys6lluISCuZciUXUMthiYRX/zp30vfQH4xppwUIcw6SvCgJEghGioQjTVyzhkk3fQ5xx4ZlVPBbTJuCoKqEDr2AtlsidWnFmZWSRxQTEOSG6fbILx2VX0HvgzyjH3tbs83gGMWyuiMNBQdX7yZ8iEVO0vc17W4/Ssf2nRBOhuoJZVyBddQ0Wu1VTsU1QYxCPgjRvDhes/do7W+stri0lFX7bR9/+lynyeLBLJWdeThZZTDCcE6ILYi4l865B7eqm98X/S54YxVbPu9RDYeUVEMWIl59q/C29f9xrXFOysJ6cssxJFlbAkl+IRRwtMJQJycqdfv5ZBrr9ON5/TdYJl8XfBM6Z8Zn//qsRKy6ma9cT2h7kNhvER1bfc8pnUHLDh7HmCsRDmlQfaO/i5K5dxm6nzg8tJM89M73mFogBkdOdxLrT19ceFZEo2GzEBvrpbnya4soqiq4YwyqnWWRxHuCcLfdsLSlh0j8u5sjdX6Gr8WnKlixFjcURRlgnXcixU3zdAgo9l3C65TBiKQz2QaDpdwy0/j8Ka65DcOQxqfZmev/8Z2KJKa3GMz0SZG8AAAzBSURBVAE1NEg0eoa7oqoqajyOIAic2vUEfW8c5NK7v4vNOT5qu/+Yn5ASonx6OaIoIssyga4AzlInUiL10nckMVGm1JlyTlEUOo514BAduKa7UsrTrzWf08txX6LFcjM9S4d+Todev6H1BoxnDL3HXK75ejPM9dPvNx8bDrIss79lP0pQQSwQqZxZmXKP+bxzspPqa5JzxYe+h9HehV7//S3ahhrOyU6q5lQhimLK+x7aVnP57yXO6U4tkxbW0fnLn9Hx+E8puX4h1oJC4pHBEZdlclx+JVNu/gjygfuI9UNOIQSPHtOy5d4/D3IduG5eTPuj3yfa0ZWShxMD4tEYhJRhy8+IaBQEC5HOTvxb/wepch7S9QvfWaPPAtbfrSXE3LX2LtyXuNm8aTP+Lj+LFy2mflE9jbsa2blrJ9XzqpGDMl6v1zi39bGtNL/cjMfjYfWXVuM74uOeTffgKnVRU13Dzl07jXPNf2zm0Z9oufaPPPwIiqKwZq22QMTmTemrpur1MKPhtgaqr6lGURSj3gD1C+tZfMvijPfodTVfb4Z+r7k+7hlu7vqPuzJeD7DziZ00Pps+IWjzps1IkpTxfNOzTaz+8mo6jnVwTyKt+IEfPmAMrvqzH/jhkIksisKWh7bgHbLvW/W8apbcssRol/6eZVlm/d3rcZW62LDxHabtvkuc07iRtaSEaZ/7AuE32+jetQOBOJZ+JXMgXK+Qw0Hpx25FmjOTSAgsdm1J+J7mF1GOtwOQc+llTLryqhSS63/HY6NMcxuKeBw1pIAqcGrnduKdfqZ9bhXW4nOzyeKZovmPzSlEURSFnYnFIZfckjp1VJZlml9uTjlmXHtr+jTT3U/vTvnd9KyWe12/sD6jNNfrsWrlKqrnadJwX3MyU+wu004x7pnutHvqF9YbdZJlmcWLFhvlgDYALF60mJpqbYGLRtOUUF/78AtB6CSunlfN5k2beeThR2i4rQFXqSuF5NXzqnnghw+w4WsbjDJbDrSkSNmOxFrqO57Qsv6WLV2WorUA3Ped+/B6vVTPq+autXexauUqPB4Pc+fNxftakvxerxf/Mb9xzO0eH2kO78G2yc4P3cjkj36cYz9/hOCRw8RVlVhf74j35F/5fqZ/6jPkFdiI9EGOKND3lwP0vvInbZCwChTVLMh4r5BjR82wU+twiPf0ARA69CpdT/6cyYs/SdEHrx97A88xhiPj4kWL08iod04dviM+vF4vHo+Hqjmp6ZojDSD1i9Jz5c0duKO9A79fu7d2QSI3XhRxmmaieS7zGPe4Sl1UzanCPdOUky9J1C+qp3J2pXFN/aJ66hfV45ruwn/MT+OzjbhKU1XvoZBl2ZDUy1csN95J9TXVbNi4Ie28KIq4prvwJKbzBk6l+nPkoIzviI/ml5txz3Ab7TO/N1+7D/cMNw2fbcB9iZuqOVWs/tJqquZUcejgIaM9ALv37KajXRs89LaOB859JojdzvTPfRFLfiHtP/hPVDWGEAO1f4TFHKxWypZ9ism3fBSigF2lvzNE30t/Qu0PAlDgmY09v8BQDlRVs9Fzc0XsuWObiqoG+8FiJR5VaLv/26hOJ+W3rTyr+629GzQ934S/y290SjMZaxdqHVBK5D13+DsMlV2Hfu3ixFpvYkFSMu1+ejeuUhfuxJZD5gFkqAQDjA6sl+tr9+EqdVFemkxIMhNbFEXjHn+Xn/u+dx9bHtSmbDbc1pBW7lBpt/WJrWnXmm19HbqN7PF4EEWRz9z+GePfoz9+NO28DiWomXfOyU7jPGiDmP7elmXI+9frO3Tg1OHzaZqHrkE1v9yclOgZZrW9V3hPUr7sZWVcvP6byC/vpf2H9yI4RGKD4RHJbist44IvfoXJ86uIJUzu3gP7DfXdPu1CxBJnMksurtno5Ocj5I2+8FM8HCYWjUCOlbbvfJ2elldwr/0WttJ3NoHlbELvdM0vN+MqdRlE1SWTmYzlrnLjWoDlt2jzwr1eryHNddVUJ7XX68Xf5ad2YS0ulyZ5hg4gQ6FL8IbbGnjk4Udwz3Dj70o6oyCdtPo9+jPdM9ya2m9ygunXmKVd8x+bDft3p2kN+0zqu05YJaggy3LKQFc5uzLlvA5Zlo2ydMLqA2bLgRZDLc/kOJMTS0wpSqofSJZlFEXB3+U3NBi9LvqzRnMmnkuc8/3RdRR+YD7ur96N7ytfwpaXx7QvrCPW14cVEPIzTx8tmD2XC1avY+BLd9Dv6yLoPcjg8XYc76vEXlaKdfIUaGtPucda4tR2hxkBarAfNRbFKjpo33Q3J5/8BZd8+wGK5l19tpp71nDzR25O6XC6ipsJ1fOqDbVUJ0rDpzOvDOMqdVG7oJbGYNIObritwRhA7vnWPfjafWzetBlRFI3OGgqFaDnQQiikecsVRWHnExoZ9cGmdkEtiqIY92z42oaMndx8jS7tFEUxHIRm0kKSzGvWrjEcW7pE9rX72Ld3H4sXLeYer+ZY81zmwSf6jPNNzzfhdDoN29/cXn3A1OuzfIU2YA59nj4g6IOuKIq0HGjBc5nHME30ga6musb4DmZfxHjgPSM6gOvjK7BE4hz55pcRIjGmfv7fiYfDEA5rzq+hKrMgMKnuH6k4eIDDm79D6ESQ/tZXKZ5fi7WwmJxJZajx5JZLVhHE0inaFs2ZEIkQ69NscmxW3r7nLo5t+xkzN3yPso994tw1/B3CVepKkX6gEX84DHXOVc+rzhgWylSO+VlmAkqSRMuB5OSibduTizQ23NbAoYOHUhyADbdpdqv5nuEkmdnu16/RSah73iHpbPMe8VKe2EtOJ1P1NdV0tHfQ+KwWiWBXatur5lRRv7Cexmcbjbq7Sl2sWrkqRf0uN+1RZ3bA+RILh+jPW75iOX6/H1+7zyC7HtHQHZP6wFx9TTW7n96Nv8s/bmE1HWd9muqoiMXofPJxjtz9FcpuqufCNV/Dkp9HTFGwF5do01qHrAIT7erk8L/9C22P/ZqKzyzj0v+8H2thIa//6220P/ZzLHaIR8But1Bx55e4cP23INesvquoyiCRnm6sjjxiPTJvfedu5Bee5aIN32XSzR+bMHY5kDEOmynOC5njzEPj8Dr0GLu5nEyxYv06/djQWHim+yE1rj5aDHq4a0aLZ4Nmqw9tm7keGVXuUeLxmd6N+b7hcgYyvXfz/eMdP9fx3hMdIB6n97nf8ca3vkLe9AuYvubfKfTMRVUi2qQSUUQY4jnv/X0Tf/3sMmylpcx+bCfiDDdvrvsSvi1bsORCPAy5JQW872v3UHb7vyYfFQ4jRAZRI3EE0U7vq6/Q/t1vM3i6k5nfuo/C6vlj2xcuiyzOY4zP/EuLhaKFdVz+o+0girz++c9x7EffJ9LdCbkOBKsFdTCCGg4nJsOoFF1XS9lHPk7oxFtaSMxqxV6YjHULqoC1QMKmz1iLaPdbLBaw5RDuPM6x+zfzxuo7sBZLXP6jx7R16bIkz+LvAO+pjT4UjspK3veDn3Dq5w9z8hdbCez+FdKHP8qkhR9GvOhS0zZImtIx+dYVnGx8ivDRwzguvwIhsXmjrpPYJxUjuqYnftiJ9/URPvoap3+3h8AzmvE27VOfw7XsNiz5Y18NNosszneMK9EBrIWFuO5YTXFtHZ0//wmndz5B15NbKfxANSUfuom8y2dhn1SKpbCYonlXU3TJTHoOvkLxh2+G3IR6H9dWmMm/0I2ttJTB9reQ971Izx+a6HupGasoUvyhGyhf3mBs8JBFFn9PGHei63C8r5ILv7WZsqWHONX4K3qff4ajLzxLTkmptrrMDXVMXvbPlH3yU2CxoiakuaAKqHGV3JICCq6aR+jwa7y16VsoR33kzb6cyZ/4J0rrP4rjfeOXlZRFFuONCUN0HY7KSi6orCSy7FMMtLxC7xut9Lzwv/T8cR/FC/6Bsk/8E2pYQU1sqqAKKsTBWiCRf0kl9iKJ4nnXMOOzd1J03Q1YJ08e5xZlkcX4Y8IRXYd96jSKp06j+OaPUL7iM0S7e7BPdoHFguDIQ4hEsJh2TxWlQsSp08m76mouvHLuyKvOZpHF3xkmLNHNsJWWYSstSzseDg8iqALYVQpmz0W8NJFJlSV5Flmk4Lxd3lRVIR7sIRZTySkqoOAD12AtmhhTS7PIYqLhPCZ6nEhfECtQcPFMSm64cbyrlEUWExbnLdEBYj0y5IFzwQ2IF80c7+pkkcWExXlLdLW/l8HTnTgv8+D61ErGsktqFln8veK8cMZlgjo4SE5BIWWfWHHWNhrMIou/VYzPpJazgHifTM8zv6VowY1YS7KbLGSRxUg4b4mOqqIODmY3WMgiizHgvLHRh45HKqSQPO38Of4dH7LF1Gi/s8hiPPH/AXE4G4d/9MdxAAAAAElFTkSuQmCC"/>
          <p:cNvSpPr>
            <a:spLocks noChangeAspect="1" noChangeArrowheads="1"/>
          </p:cNvSpPr>
          <p:nvPr/>
        </p:nvSpPr>
        <p:spPr bwMode="auto">
          <a:xfrm>
            <a:off x="1730375" y="-365125"/>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endParaRPr lang="zh-CN" altLang="en-US"/>
          </a:p>
        </p:txBody>
      </p:sp>
      <p:sp>
        <p:nvSpPr>
          <p:cNvPr id="7" name="标题 1"/>
          <p:cNvSpPr txBox="1"/>
          <p:nvPr/>
        </p:nvSpPr>
        <p:spPr bwMode="white">
          <a:xfrm>
            <a:off x="458788" y="392113"/>
            <a:ext cx="4757737" cy="690562"/>
          </a:xfrm>
          <a:prstGeom prst="rect">
            <a:avLst/>
          </a:prstGeom>
          <a:noFill/>
          <a:ln w="9525">
            <a:noFill/>
            <a:miter lim="800000"/>
          </a:ln>
          <a:effectLst/>
        </p:spPr>
        <p:txBody>
          <a:bodyPr lIns="91438" tIns="45719" rIns="91438" bIns="45719" anchor="ctr">
            <a:normAutofit/>
          </a:bodyPr>
          <a:lstStyle>
            <a:lvl1pPr algn="l" rtl="0" eaLnBrk="1" fontAlgn="base" hangingPunct="1">
              <a:spcBef>
                <a:spcPct val="0"/>
              </a:spcBef>
              <a:spcAft>
                <a:spcPct val="0"/>
              </a:spcAft>
              <a:defRPr sz="3200">
                <a:solidFill>
                  <a:schemeClr val="bg1"/>
                </a:solidFill>
                <a:latin typeface="+mj-lt"/>
                <a:ea typeface="+mj-ea"/>
                <a:cs typeface="+mj-cs"/>
              </a:defRPr>
            </a:lvl1pPr>
            <a:lvl2pPr algn="l" rtl="0" eaLnBrk="1" fontAlgn="base" hangingPunct="1">
              <a:spcBef>
                <a:spcPct val="0"/>
              </a:spcBef>
              <a:spcAft>
                <a:spcPct val="0"/>
              </a:spcAft>
              <a:defRPr sz="3200">
                <a:solidFill>
                  <a:schemeClr val="bg1"/>
                </a:solidFill>
                <a:latin typeface="Verdana" panose="020B0604030504040204" pitchFamily="34" charset="0"/>
              </a:defRPr>
            </a:lvl2pPr>
            <a:lvl3pPr algn="l" rtl="0" eaLnBrk="1" fontAlgn="base" hangingPunct="1">
              <a:spcBef>
                <a:spcPct val="0"/>
              </a:spcBef>
              <a:spcAft>
                <a:spcPct val="0"/>
              </a:spcAft>
              <a:defRPr sz="3200">
                <a:solidFill>
                  <a:schemeClr val="bg1"/>
                </a:solidFill>
                <a:latin typeface="Verdana" panose="020B0604030504040204" pitchFamily="34" charset="0"/>
              </a:defRPr>
            </a:lvl3pPr>
            <a:lvl4pPr algn="l" rtl="0" eaLnBrk="1" fontAlgn="base" hangingPunct="1">
              <a:spcBef>
                <a:spcPct val="0"/>
              </a:spcBef>
              <a:spcAft>
                <a:spcPct val="0"/>
              </a:spcAft>
              <a:defRPr sz="3200">
                <a:solidFill>
                  <a:schemeClr val="bg1"/>
                </a:solidFill>
                <a:latin typeface="Verdana" panose="020B0604030504040204" pitchFamily="34" charset="0"/>
              </a:defRPr>
            </a:lvl4pPr>
            <a:lvl5pPr algn="l" rtl="0" eaLnBrk="1" fontAlgn="base" hangingPunct="1">
              <a:spcBef>
                <a:spcPct val="0"/>
              </a:spcBef>
              <a:spcAft>
                <a:spcPct val="0"/>
              </a:spcAft>
              <a:defRPr sz="3200">
                <a:solidFill>
                  <a:schemeClr val="bg1"/>
                </a:solidFill>
                <a:latin typeface="Verdana" panose="020B0604030504040204" pitchFamily="34" charset="0"/>
              </a:defRPr>
            </a:lvl5pPr>
            <a:lvl6pPr marL="457200" algn="l" rtl="0" eaLnBrk="1" fontAlgn="base" hangingPunct="1">
              <a:spcBef>
                <a:spcPct val="0"/>
              </a:spcBef>
              <a:spcAft>
                <a:spcPct val="0"/>
              </a:spcAft>
              <a:defRPr sz="3200">
                <a:solidFill>
                  <a:schemeClr val="bg1"/>
                </a:solidFill>
                <a:latin typeface="Verdana" panose="020B0604030504040204" pitchFamily="34" charset="0"/>
              </a:defRPr>
            </a:lvl6pPr>
            <a:lvl7pPr marL="914400" algn="l" rtl="0" eaLnBrk="1" fontAlgn="base" hangingPunct="1">
              <a:spcBef>
                <a:spcPct val="0"/>
              </a:spcBef>
              <a:spcAft>
                <a:spcPct val="0"/>
              </a:spcAft>
              <a:defRPr sz="3200">
                <a:solidFill>
                  <a:schemeClr val="bg1"/>
                </a:solidFill>
                <a:latin typeface="Verdana" panose="020B0604030504040204" pitchFamily="34" charset="0"/>
              </a:defRPr>
            </a:lvl7pPr>
            <a:lvl8pPr marL="1371600" algn="l" rtl="0" eaLnBrk="1" fontAlgn="base" hangingPunct="1">
              <a:spcBef>
                <a:spcPct val="0"/>
              </a:spcBef>
              <a:spcAft>
                <a:spcPct val="0"/>
              </a:spcAft>
              <a:defRPr sz="3200">
                <a:solidFill>
                  <a:schemeClr val="bg1"/>
                </a:solidFill>
                <a:latin typeface="Verdana" panose="020B0604030504040204" pitchFamily="34" charset="0"/>
              </a:defRPr>
            </a:lvl8pPr>
            <a:lvl9pPr marL="1828800" algn="l" rtl="0" eaLnBrk="1" fontAlgn="base" hangingPunct="1">
              <a:spcBef>
                <a:spcPct val="0"/>
              </a:spcBef>
              <a:spcAft>
                <a:spcPct val="0"/>
              </a:spcAft>
              <a:defRPr sz="3200">
                <a:solidFill>
                  <a:schemeClr val="bg1"/>
                </a:solidFill>
                <a:latin typeface="Verdana" panose="020B0604030504040204" pitchFamily="34" charset="0"/>
              </a:defRPr>
            </a:lvl9pPr>
          </a:lstStyle>
          <a:p>
            <a:pPr fontAlgn="auto">
              <a:spcAft>
                <a:spcPts val="0"/>
              </a:spcAft>
              <a:buFontTx/>
              <a:buNone/>
              <a:defRPr/>
            </a:pPr>
            <a:r>
              <a:rPr lang="zh-CN" altLang="en-US" sz="2700" b="1" kern="0" dirty="0">
                <a:solidFill>
                  <a:srgbClr val="0070C0"/>
                </a:solidFill>
                <a:latin typeface="微软雅黑" panose="020B0503020204020204" pitchFamily="34" charset="-122"/>
              </a:rPr>
              <a:t>项目管理的价值</a:t>
            </a:r>
          </a:p>
        </p:txBody>
      </p:sp>
      <p:sp>
        <p:nvSpPr>
          <p:cNvPr id="43012" name="Freeform 17"/>
          <p:cNvSpPr>
            <a:spLocks noChangeArrowheads="1"/>
          </p:cNvSpPr>
          <p:nvPr>
            <p:custDataLst>
              <p:tags r:id="rId1"/>
            </p:custDataLst>
          </p:nvPr>
        </p:nvSpPr>
        <p:spPr bwMode="auto">
          <a:xfrm>
            <a:off x="4811713" y="3001963"/>
            <a:ext cx="2701925" cy="1674812"/>
          </a:xfrm>
          <a:custGeom>
            <a:avLst/>
            <a:gdLst>
              <a:gd name="T0" fmla="*/ 0 w 1291"/>
              <a:gd name="T1" fmla="*/ 0 h 951"/>
              <a:gd name="T2" fmla="*/ 446 w 1291"/>
              <a:gd name="T3" fmla="*/ 947 h 951"/>
              <a:gd name="T4" fmla="*/ 844 w 1291"/>
              <a:gd name="T5" fmla="*/ 950 h 951"/>
              <a:gd name="T6" fmla="*/ 1290 w 1291"/>
              <a:gd name="T7" fmla="*/ 3 h 951"/>
              <a:gd name="T8" fmla="*/ 0 w 1291"/>
              <a:gd name="T9" fmla="*/ 0 h 951"/>
            </a:gdLst>
            <a:ahLst/>
            <a:cxnLst>
              <a:cxn ang="0">
                <a:pos x="T0" y="T1"/>
              </a:cxn>
              <a:cxn ang="0">
                <a:pos x="T2" y="T3"/>
              </a:cxn>
              <a:cxn ang="0">
                <a:pos x="T4" y="T5"/>
              </a:cxn>
              <a:cxn ang="0">
                <a:pos x="T6" y="T7"/>
              </a:cxn>
              <a:cxn ang="0">
                <a:pos x="T8" y="T9"/>
              </a:cxn>
            </a:cxnLst>
            <a:rect l="0" t="0" r="r" b="b"/>
            <a:pathLst>
              <a:path w="1291" h="951">
                <a:moveTo>
                  <a:pt x="0" y="0"/>
                </a:moveTo>
                <a:lnTo>
                  <a:pt x="446" y="947"/>
                </a:lnTo>
                <a:lnTo>
                  <a:pt x="844" y="950"/>
                </a:lnTo>
                <a:lnTo>
                  <a:pt x="1290" y="3"/>
                </a:lnTo>
                <a:lnTo>
                  <a:pt x="0" y="0"/>
                </a:lnTo>
              </a:path>
            </a:pathLst>
          </a:custGeom>
          <a:solidFill>
            <a:srgbClr val="00B0F0"/>
          </a:solidFill>
          <a:ln w="12700" cap="rnd">
            <a:solidFill>
              <a:schemeClr val="bg1"/>
            </a:solidFill>
            <a:round/>
            <a:headEnd/>
            <a:tailEnd/>
          </a:ln>
        </p:spPr>
        <p:txBody>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endParaRPr lang="zh-CN" altLang="en-US"/>
          </a:p>
        </p:txBody>
      </p:sp>
      <p:sp>
        <p:nvSpPr>
          <p:cNvPr id="43013" name="Rectangle 16"/>
          <p:cNvSpPr>
            <a:spLocks noChangeArrowheads="1"/>
          </p:cNvSpPr>
          <p:nvPr>
            <p:custDataLst>
              <p:tags r:id="rId2"/>
            </p:custDataLst>
          </p:nvPr>
        </p:nvSpPr>
        <p:spPr bwMode="auto">
          <a:xfrm>
            <a:off x="5721350" y="5026025"/>
            <a:ext cx="836613" cy="101600"/>
          </a:xfrm>
          <a:prstGeom prst="rect">
            <a:avLst/>
          </a:prstGeom>
          <a:solidFill>
            <a:srgbClr val="00B0F0"/>
          </a:solidFill>
          <a:ln w="12700">
            <a:solidFill>
              <a:schemeClr val="bg1"/>
            </a:solidFill>
            <a:miter lim="800000"/>
            <a:headEnd/>
            <a:tailEnd/>
          </a:ln>
        </p:spPr>
        <p:txBody>
          <a:bodyPr wrap="none" lIns="121917" tIns="60958" rIns="121917" bIns="60958"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endParaRPr lang="en-US" altLang="zh-CN"/>
          </a:p>
        </p:txBody>
      </p:sp>
      <p:sp>
        <p:nvSpPr>
          <p:cNvPr id="43014" name="AutoShape 19"/>
          <p:cNvSpPr>
            <a:spLocks noChangeArrowheads="1"/>
          </p:cNvSpPr>
          <p:nvPr>
            <p:custDataLst>
              <p:tags r:id="rId3"/>
            </p:custDataLst>
          </p:nvPr>
        </p:nvSpPr>
        <p:spPr bwMode="auto">
          <a:xfrm rot="16200000" flipH="1">
            <a:off x="5062537" y="2584451"/>
            <a:ext cx="498475" cy="406400"/>
          </a:xfrm>
          <a:prstGeom prst="rightArrow">
            <a:avLst>
              <a:gd name="adj1" fmla="val 50000"/>
              <a:gd name="adj2" fmla="val 28966"/>
            </a:avLst>
          </a:prstGeom>
          <a:solidFill>
            <a:schemeClr val="accent2"/>
          </a:solidFill>
          <a:ln w="12700">
            <a:solidFill>
              <a:schemeClr val="bg1"/>
            </a:solidFill>
            <a:miter lim="800000"/>
            <a:headEnd/>
            <a:tailEnd/>
          </a:ln>
        </p:spPr>
        <p:txBody>
          <a:bodyPr wrap="none" lIns="121917" tIns="60958" rIns="121917" bIns="60958"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endParaRPr lang="en-US" altLang="zh-CN"/>
          </a:p>
        </p:txBody>
      </p:sp>
      <p:sp>
        <p:nvSpPr>
          <p:cNvPr id="43015" name="Freeform 23"/>
          <p:cNvSpPr>
            <a:spLocks noChangeArrowheads="1"/>
          </p:cNvSpPr>
          <p:nvPr>
            <p:custDataLst>
              <p:tags r:id="rId4"/>
            </p:custDataLst>
          </p:nvPr>
        </p:nvSpPr>
        <p:spPr bwMode="auto">
          <a:xfrm>
            <a:off x="7402513" y="3725863"/>
            <a:ext cx="658812" cy="320675"/>
          </a:xfrm>
          <a:custGeom>
            <a:avLst/>
            <a:gdLst>
              <a:gd name="T0" fmla="*/ 312 w 314"/>
              <a:gd name="T1" fmla="*/ 48 h 182"/>
              <a:gd name="T2" fmla="*/ 313 w 314"/>
              <a:gd name="T3" fmla="*/ 175 h 182"/>
              <a:gd name="T4" fmla="*/ 169 w 314"/>
              <a:gd name="T5" fmla="*/ 181 h 182"/>
              <a:gd name="T6" fmla="*/ 207 w 314"/>
              <a:gd name="T7" fmla="*/ 145 h 182"/>
              <a:gd name="T8" fmla="*/ 142 w 314"/>
              <a:gd name="T9" fmla="*/ 84 h 182"/>
              <a:gd name="T10" fmla="*/ 127 w 314"/>
              <a:gd name="T11" fmla="*/ 78 h 182"/>
              <a:gd name="T12" fmla="*/ 111 w 314"/>
              <a:gd name="T13" fmla="*/ 80 h 182"/>
              <a:gd name="T14" fmla="*/ 92 w 314"/>
              <a:gd name="T15" fmla="*/ 88 h 182"/>
              <a:gd name="T16" fmla="*/ 70 w 314"/>
              <a:gd name="T17" fmla="*/ 105 h 182"/>
              <a:gd name="T18" fmla="*/ 50 w 314"/>
              <a:gd name="T19" fmla="*/ 124 h 182"/>
              <a:gd name="T20" fmla="*/ 0 w 314"/>
              <a:gd name="T21" fmla="*/ 77 h 182"/>
              <a:gd name="T22" fmla="*/ 34 w 314"/>
              <a:gd name="T23" fmla="*/ 46 h 182"/>
              <a:gd name="T24" fmla="*/ 48 w 314"/>
              <a:gd name="T25" fmla="*/ 36 h 182"/>
              <a:gd name="T26" fmla="*/ 67 w 314"/>
              <a:gd name="T27" fmla="*/ 24 h 182"/>
              <a:gd name="T28" fmla="*/ 82 w 314"/>
              <a:gd name="T29" fmla="*/ 17 h 182"/>
              <a:gd name="T30" fmla="*/ 96 w 314"/>
              <a:gd name="T31" fmla="*/ 9 h 182"/>
              <a:gd name="T32" fmla="*/ 112 w 314"/>
              <a:gd name="T33" fmla="*/ 3 h 182"/>
              <a:gd name="T34" fmla="*/ 129 w 314"/>
              <a:gd name="T35" fmla="*/ 0 h 182"/>
              <a:gd name="T36" fmla="*/ 148 w 314"/>
              <a:gd name="T37" fmla="*/ 0 h 182"/>
              <a:gd name="T38" fmla="*/ 164 w 314"/>
              <a:gd name="T39" fmla="*/ 1 h 182"/>
              <a:gd name="T40" fmla="*/ 181 w 314"/>
              <a:gd name="T41" fmla="*/ 5 h 182"/>
              <a:gd name="T42" fmla="*/ 198 w 314"/>
              <a:gd name="T43" fmla="*/ 13 h 182"/>
              <a:gd name="T44" fmla="*/ 208 w 314"/>
              <a:gd name="T45" fmla="*/ 23 h 182"/>
              <a:gd name="T46" fmla="*/ 275 w 314"/>
              <a:gd name="T47" fmla="*/ 82 h 182"/>
              <a:gd name="T48" fmla="*/ 312 w 314"/>
              <a:gd name="T49" fmla="*/ 4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4" h="182">
                <a:moveTo>
                  <a:pt x="312" y="48"/>
                </a:moveTo>
                <a:lnTo>
                  <a:pt x="313" y="175"/>
                </a:lnTo>
                <a:lnTo>
                  <a:pt x="169" y="181"/>
                </a:lnTo>
                <a:lnTo>
                  <a:pt x="207" y="145"/>
                </a:lnTo>
                <a:lnTo>
                  <a:pt x="142" y="84"/>
                </a:lnTo>
                <a:lnTo>
                  <a:pt x="127" y="78"/>
                </a:lnTo>
                <a:lnTo>
                  <a:pt x="111" y="80"/>
                </a:lnTo>
                <a:lnTo>
                  <a:pt x="92" y="88"/>
                </a:lnTo>
                <a:lnTo>
                  <a:pt x="70" y="105"/>
                </a:lnTo>
                <a:lnTo>
                  <a:pt x="50" y="124"/>
                </a:lnTo>
                <a:lnTo>
                  <a:pt x="0" y="77"/>
                </a:lnTo>
                <a:lnTo>
                  <a:pt x="34" y="46"/>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chemeClr val="accent2"/>
          </a:solidFill>
          <a:ln w="12700" cap="rnd">
            <a:solidFill>
              <a:schemeClr val="bg1"/>
            </a:solidFill>
            <a:round/>
            <a:headEnd/>
            <a:tailEnd/>
          </a:ln>
        </p:spPr>
        <p:txBody>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endParaRPr lang="zh-CN" altLang="en-US"/>
          </a:p>
        </p:txBody>
      </p:sp>
      <p:sp>
        <p:nvSpPr>
          <p:cNvPr id="43016" name="Freeform 24"/>
          <p:cNvSpPr>
            <a:spLocks noChangeArrowheads="1"/>
          </p:cNvSpPr>
          <p:nvPr>
            <p:custDataLst>
              <p:tags r:id="rId5"/>
            </p:custDataLst>
          </p:nvPr>
        </p:nvSpPr>
        <p:spPr bwMode="auto">
          <a:xfrm>
            <a:off x="7031038" y="4492625"/>
            <a:ext cx="660400" cy="322263"/>
          </a:xfrm>
          <a:custGeom>
            <a:avLst/>
            <a:gdLst>
              <a:gd name="T0" fmla="*/ 313 w 315"/>
              <a:gd name="T1" fmla="*/ 48 h 182"/>
              <a:gd name="T2" fmla="*/ 314 w 315"/>
              <a:gd name="T3" fmla="*/ 175 h 182"/>
              <a:gd name="T4" fmla="*/ 170 w 315"/>
              <a:gd name="T5" fmla="*/ 181 h 182"/>
              <a:gd name="T6" fmla="*/ 208 w 315"/>
              <a:gd name="T7" fmla="*/ 145 h 182"/>
              <a:gd name="T8" fmla="*/ 143 w 315"/>
              <a:gd name="T9" fmla="*/ 84 h 182"/>
              <a:gd name="T10" fmla="*/ 127 w 315"/>
              <a:gd name="T11" fmla="*/ 78 h 182"/>
              <a:gd name="T12" fmla="*/ 111 w 315"/>
              <a:gd name="T13" fmla="*/ 80 h 182"/>
              <a:gd name="T14" fmla="*/ 93 w 315"/>
              <a:gd name="T15" fmla="*/ 88 h 182"/>
              <a:gd name="T16" fmla="*/ 70 w 315"/>
              <a:gd name="T17" fmla="*/ 105 h 182"/>
              <a:gd name="T18" fmla="*/ 50 w 315"/>
              <a:gd name="T19" fmla="*/ 124 h 182"/>
              <a:gd name="T20" fmla="*/ 0 w 315"/>
              <a:gd name="T21" fmla="*/ 77 h 182"/>
              <a:gd name="T22" fmla="*/ 34 w 315"/>
              <a:gd name="T23" fmla="*/ 46 h 182"/>
              <a:gd name="T24" fmla="*/ 48 w 315"/>
              <a:gd name="T25" fmla="*/ 36 h 182"/>
              <a:gd name="T26" fmla="*/ 67 w 315"/>
              <a:gd name="T27" fmla="*/ 24 h 182"/>
              <a:gd name="T28" fmla="*/ 82 w 315"/>
              <a:gd name="T29" fmla="*/ 17 h 182"/>
              <a:gd name="T30" fmla="*/ 96 w 315"/>
              <a:gd name="T31" fmla="*/ 9 h 182"/>
              <a:gd name="T32" fmla="*/ 112 w 315"/>
              <a:gd name="T33" fmla="*/ 3 h 182"/>
              <a:gd name="T34" fmla="*/ 129 w 315"/>
              <a:gd name="T35" fmla="*/ 0 h 182"/>
              <a:gd name="T36" fmla="*/ 149 w 315"/>
              <a:gd name="T37" fmla="*/ 0 h 182"/>
              <a:gd name="T38" fmla="*/ 165 w 315"/>
              <a:gd name="T39" fmla="*/ 1 h 182"/>
              <a:gd name="T40" fmla="*/ 182 w 315"/>
              <a:gd name="T41" fmla="*/ 5 h 182"/>
              <a:gd name="T42" fmla="*/ 199 w 315"/>
              <a:gd name="T43" fmla="*/ 13 h 182"/>
              <a:gd name="T44" fmla="*/ 209 w 315"/>
              <a:gd name="T45" fmla="*/ 23 h 182"/>
              <a:gd name="T46" fmla="*/ 276 w 315"/>
              <a:gd name="T47" fmla="*/ 82 h 182"/>
              <a:gd name="T48" fmla="*/ 313 w 315"/>
              <a:gd name="T49" fmla="*/ 4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5" h="182">
                <a:moveTo>
                  <a:pt x="313" y="48"/>
                </a:moveTo>
                <a:lnTo>
                  <a:pt x="314" y="175"/>
                </a:lnTo>
                <a:lnTo>
                  <a:pt x="170" y="181"/>
                </a:lnTo>
                <a:lnTo>
                  <a:pt x="208" y="145"/>
                </a:lnTo>
                <a:lnTo>
                  <a:pt x="143" y="84"/>
                </a:lnTo>
                <a:lnTo>
                  <a:pt x="127" y="78"/>
                </a:lnTo>
                <a:lnTo>
                  <a:pt x="111" y="80"/>
                </a:lnTo>
                <a:lnTo>
                  <a:pt x="93" y="88"/>
                </a:lnTo>
                <a:lnTo>
                  <a:pt x="70" y="105"/>
                </a:lnTo>
                <a:lnTo>
                  <a:pt x="50" y="124"/>
                </a:lnTo>
                <a:lnTo>
                  <a:pt x="0" y="77"/>
                </a:lnTo>
                <a:lnTo>
                  <a:pt x="34" y="46"/>
                </a:lnTo>
                <a:lnTo>
                  <a:pt x="48" y="36"/>
                </a:lnTo>
                <a:lnTo>
                  <a:pt x="67" y="24"/>
                </a:lnTo>
                <a:lnTo>
                  <a:pt x="82" y="17"/>
                </a:lnTo>
                <a:lnTo>
                  <a:pt x="96" y="9"/>
                </a:lnTo>
                <a:lnTo>
                  <a:pt x="112" y="3"/>
                </a:lnTo>
                <a:lnTo>
                  <a:pt x="129" y="0"/>
                </a:lnTo>
                <a:lnTo>
                  <a:pt x="149" y="0"/>
                </a:lnTo>
                <a:lnTo>
                  <a:pt x="165" y="1"/>
                </a:lnTo>
                <a:lnTo>
                  <a:pt x="182" y="5"/>
                </a:lnTo>
                <a:lnTo>
                  <a:pt x="199" y="13"/>
                </a:lnTo>
                <a:lnTo>
                  <a:pt x="209" y="23"/>
                </a:lnTo>
                <a:lnTo>
                  <a:pt x="276" y="82"/>
                </a:lnTo>
                <a:lnTo>
                  <a:pt x="313" y="48"/>
                </a:lnTo>
              </a:path>
            </a:pathLst>
          </a:custGeom>
          <a:solidFill>
            <a:schemeClr val="accent2"/>
          </a:solidFill>
          <a:ln w="12700" cap="rnd">
            <a:solidFill>
              <a:schemeClr val="bg1"/>
            </a:solidFill>
            <a:round/>
            <a:headEnd/>
            <a:tailEnd/>
          </a:ln>
        </p:spPr>
        <p:txBody>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endParaRPr lang="zh-CN" altLang="en-US"/>
          </a:p>
        </p:txBody>
      </p:sp>
      <p:sp>
        <p:nvSpPr>
          <p:cNvPr id="43017" name="Freeform 25"/>
          <p:cNvSpPr>
            <a:spLocks noChangeArrowheads="1"/>
          </p:cNvSpPr>
          <p:nvPr>
            <p:custDataLst>
              <p:tags r:id="rId6"/>
            </p:custDataLst>
          </p:nvPr>
        </p:nvSpPr>
        <p:spPr bwMode="auto">
          <a:xfrm>
            <a:off x="7753350" y="2836863"/>
            <a:ext cx="598488" cy="350837"/>
          </a:xfrm>
          <a:custGeom>
            <a:avLst/>
            <a:gdLst>
              <a:gd name="T0" fmla="*/ 312 w 314"/>
              <a:gd name="T1" fmla="*/ 48 h 183"/>
              <a:gd name="T2" fmla="*/ 313 w 314"/>
              <a:gd name="T3" fmla="*/ 176 h 183"/>
              <a:gd name="T4" fmla="*/ 169 w 314"/>
              <a:gd name="T5" fmla="*/ 182 h 183"/>
              <a:gd name="T6" fmla="*/ 207 w 314"/>
              <a:gd name="T7" fmla="*/ 146 h 183"/>
              <a:gd name="T8" fmla="*/ 142 w 314"/>
              <a:gd name="T9" fmla="*/ 85 h 183"/>
              <a:gd name="T10" fmla="*/ 127 w 314"/>
              <a:gd name="T11" fmla="*/ 78 h 183"/>
              <a:gd name="T12" fmla="*/ 111 w 314"/>
              <a:gd name="T13" fmla="*/ 81 h 183"/>
              <a:gd name="T14" fmla="*/ 92 w 314"/>
              <a:gd name="T15" fmla="*/ 89 h 183"/>
              <a:gd name="T16" fmla="*/ 70 w 314"/>
              <a:gd name="T17" fmla="*/ 105 h 183"/>
              <a:gd name="T18" fmla="*/ 50 w 314"/>
              <a:gd name="T19" fmla="*/ 125 h 183"/>
              <a:gd name="T20" fmla="*/ 0 w 314"/>
              <a:gd name="T21" fmla="*/ 78 h 183"/>
              <a:gd name="T22" fmla="*/ 34 w 314"/>
              <a:gd name="T23" fmla="*/ 47 h 183"/>
              <a:gd name="T24" fmla="*/ 48 w 314"/>
              <a:gd name="T25" fmla="*/ 36 h 183"/>
              <a:gd name="T26" fmla="*/ 67 w 314"/>
              <a:gd name="T27" fmla="*/ 24 h 183"/>
              <a:gd name="T28" fmla="*/ 82 w 314"/>
              <a:gd name="T29" fmla="*/ 17 h 183"/>
              <a:gd name="T30" fmla="*/ 96 w 314"/>
              <a:gd name="T31" fmla="*/ 9 h 183"/>
              <a:gd name="T32" fmla="*/ 112 w 314"/>
              <a:gd name="T33" fmla="*/ 3 h 183"/>
              <a:gd name="T34" fmla="*/ 129 w 314"/>
              <a:gd name="T35" fmla="*/ 0 h 183"/>
              <a:gd name="T36" fmla="*/ 148 w 314"/>
              <a:gd name="T37" fmla="*/ 0 h 183"/>
              <a:gd name="T38" fmla="*/ 164 w 314"/>
              <a:gd name="T39" fmla="*/ 1 h 183"/>
              <a:gd name="T40" fmla="*/ 181 w 314"/>
              <a:gd name="T41" fmla="*/ 5 h 183"/>
              <a:gd name="T42" fmla="*/ 198 w 314"/>
              <a:gd name="T43" fmla="*/ 13 h 183"/>
              <a:gd name="T44" fmla="*/ 208 w 314"/>
              <a:gd name="T45" fmla="*/ 23 h 183"/>
              <a:gd name="T46" fmla="*/ 275 w 314"/>
              <a:gd name="T47" fmla="*/ 82 h 183"/>
              <a:gd name="T48" fmla="*/ 312 w 314"/>
              <a:gd name="T49" fmla="*/ 48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4" h="183">
                <a:moveTo>
                  <a:pt x="312" y="48"/>
                </a:moveTo>
                <a:lnTo>
                  <a:pt x="313" y="176"/>
                </a:lnTo>
                <a:lnTo>
                  <a:pt x="169" y="182"/>
                </a:lnTo>
                <a:lnTo>
                  <a:pt x="207" y="146"/>
                </a:lnTo>
                <a:lnTo>
                  <a:pt x="142" y="85"/>
                </a:lnTo>
                <a:lnTo>
                  <a:pt x="127" y="78"/>
                </a:lnTo>
                <a:lnTo>
                  <a:pt x="111" y="81"/>
                </a:lnTo>
                <a:lnTo>
                  <a:pt x="92" y="89"/>
                </a:lnTo>
                <a:lnTo>
                  <a:pt x="70" y="105"/>
                </a:lnTo>
                <a:lnTo>
                  <a:pt x="50" y="125"/>
                </a:lnTo>
                <a:lnTo>
                  <a:pt x="0" y="78"/>
                </a:lnTo>
                <a:lnTo>
                  <a:pt x="34" y="47"/>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chemeClr val="accent2"/>
          </a:solidFill>
          <a:ln w="12700" cap="rnd">
            <a:solidFill>
              <a:schemeClr val="bg1"/>
            </a:solidFill>
            <a:round/>
            <a:headEnd/>
            <a:tailEnd/>
          </a:ln>
        </p:spPr>
        <p:txBody>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endParaRPr lang="zh-CN" altLang="en-US"/>
          </a:p>
        </p:txBody>
      </p:sp>
      <p:grpSp>
        <p:nvGrpSpPr>
          <p:cNvPr id="17" name="Group 52"/>
          <p:cNvGrpSpPr/>
          <p:nvPr/>
        </p:nvGrpSpPr>
        <p:grpSpPr bwMode="auto">
          <a:xfrm>
            <a:off x="5644938" y="2504587"/>
            <a:ext cx="1408968" cy="533294"/>
            <a:chOff x="6870856" y="2306970"/>
            <a:chExt cx="1439227" cy="598450"/>
          </a:xfrm>
          <a:solidFill>
            <a:schemeClr val="accent2"/>
          </a:solidFill>
        </p:grpSpPr>
        <p:sp>
          <p:nvSpPr>
            <p:cNvPr id="18" name="AutoShape 22"/>
            <p:cNvSpPr>
              <a:spLocks noChangeArrowheads="1"/>
            </p:cNvSpPr>
            <p:nvPr/>
          </p:nvSpPr>
          <p:spPr bwMode="auto">
            <a:xfrm rot="16200000" flipH="1">
              <a:off x="7796693" y="2391735"/>
              <a:ext cx="598155" cy="428625"/>
            </a:xfrm>
            <a:prstGeom prst="rightArrow">
              <a:avLst>
                <a:gd name="adj1" fmla="val 50000"/>
                <a:gd name="adj2" fmla="val 30256"/>
              </a:avLst>
            </a:prstGeom>
            <a:grpFill/>
            <a:ln w="12700">
              <a:solidFill>
                <a:schemeClr val="bg1"/>
              </a:solidFill>
              <a:miter lim="800000"/>
            </a:ln>
          </p:spPr>
          <p:txBody>
            <a:bodyPr wrap="none" anchor="ctr"/>
            <a:lstStyle/>
            <a:p>
              <a:pPr algn="ctr" fontAlgn="auto">
                <a:spcBef>
                  <a:spcPts val="0"/>
                </a:spcBef>
                <a:spcAft>
                  <a:spcPts val="0"/>
                </a:spcAft>
                <a:buFontTx/>
                <a:buNone/>
                <a:defRPr/>
              </a:pPr>
              <a:endParaRPr lang="en-US">
                <a:latin typeface="+mn-lt"/>
                <a:ea typeface="+mn-ea"/>
              </a:endParaRPr>
            </a:p>
          </p:txBody>
        </p:sp>
        <p:sp>
          <p:nvSpPr>
            <p:cNvPr id="19" name="AutoShape 22"/>
            <p:cNvSpPr>
              <a:spLocks noChangeArrowheads="1"/>
            </p:cNvSpPr>
            <p:nvPr/>
          </p:nvSpPr>
          <p:spPr bwMode="auto">
            <a:xfrm rot="16200000" flipH="1">
              <a:off x="6786091" y="2392030"/>
              <a:ext cx="598155" cy="428625"/>
            </a:xfrm>
            <a:prstGeom prst="rightArrow">
              <a:avLst>
                <a:gd name="adj1" fmla="val 50000"/>
                <a:gd name="adj2" fmla="val 30256"/>
              </a:avLst>
            </a:prstGeom>
            <a:grpFill/>
            <a:ln w="12700">
              <a:solidFill>
                <a:schemeClr val="bg1"/>
              </a:solidFill>
              <a:miter lim="800000"/>
            </a:ln>
          </p:spPr>
          <p:txBody>
            <a:bodyPr wrap="none" anchor="ctr"/>
            <a:lstStyle/>
            <a:p>
              <a:pPr algn="ctr" fontAlgn="auto">
                <a:spcBef>
                  <a:spcPts val="0"/>
                </a:spcBef>
                <a:spcAft>
                  <a:spcPts val="0"/>
                </a:spcAft>
                <a:buFontTx/>
                <a:buNone/>
                <a:defRPr/>
              </a:pPr>
              <a:endParaRPr lang="en-US">
                <a:latin typeface="+mn-lt"/>
                <a:ea typeface="+mn-ea"/>
              </a:endParaRPr>
            </a:p>
          </p:txBody>
        </p:sp>
        <p:sp>
          <p:nvSpPr>
            <p:cNvPr id="20" name="AutoShape 22"/>
            <p:cNvSpPr>
              <a:spLocks noChangeArrowheads="1"/>
            </p:cNvSpPr>
            <p:nvPr/>
          </p:nvSpPr>
          <p:spPr bwMode="auto">
            <a:xfrm rot="16200000" flipH="1">
              <a:off x="7291392" y="2391735"/>
              <a:ext cx="598155" cy="428625"/>
            </a:xfrm>
            <a:prstGeom prst="rightArrow">
              <a:avLst>
                <a:gd name="adj1" fmla="val 50000"/>
                <a:gd name="adj2" fmla="val 30256"/>
              </a:avLst>
            </a:prstGeom>
            <a:grpFill/>
            <a:ln w="12700">
              <a:solidFill>
                <a:schemeClr val="bg1"/>
              </a:solidFill>
              <a:miter lim="800000"/>
            </a:ln>
          </p:spPr>
          <p:txBody>
            <a:bodyPr wrap="none" anchor="ctr"/>
            <a:lstStyle/>
            <a:p>
              <a:pPr algn="ctr" fontAlgn="auto">
                <a:spcBef>
                  <a:spcPts val="0"/>
                </a:spcBef>
                <a:spcAft>
                  <a:spcPts val="0"/>
                </a:spcAft>
                <a:buFontTx/>
                <a:buNone/>
                <a:defRPr/>
              </a:pPr>
              <a:endParaRPr lang="en-US">
                <a:latin typeface="+mn-lt"/>
                <a:ea typeface="+mn-ea"/>
              </a:endParaRPr>
            </a:p>
          </p:txBody>
        </p:sp>
      </p:grpSp>
      <p:cxnSp>
        <p:nvCxnSpPr>
          <p:cNvPr id="21" name="Straight Connector 42"/>
          <p:cNvCxnSpPr/>
          <p:nvPr>
            <p:custDataLst>
              <p:tags r:id="rId7"/>
            </p:custDataLst>
          </p:nvPr>
        </p:nvCxnSpPr>
        <p:spPr>
          <a:xfrm>
            <a:off x="6445250" y="3001963"/>
            <a:ext cx="289401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2" name="Group 53"/>
          <p:cNvGrpSpPr/>
          <p:nvPr/>
        </p:nvGrpSpPr>
        <p:grpSpPr bwMode="auto">
          <a:xfrm>
            <a:off x="5730233" y="3539324"/>
            <a:ext cx="885445" cy="533294"/>
            <a:chOff x="7137556" y="3046110"/>
            <a:chExt cx="904871" cy="598450"/>
          </a:xfrm>
          <a:solidFill>
            <a:srgbClr val="00B050"/>
          </a:solidFill>
        </p:grpSpPr>
        <p:sp>
          <p:nvSpPr>
            <p:cNvPr id="23" name="AutoShape 22"/>
            <p:cNvSpPr>
              <a:spLocks noChangeArrowheads="1"/>
            </p:cNvSpPr>
            <p:nvPr/>
          </p:nvSpPr>
          <p:spPr bwMode="auto">
            <a:xfrm rot="16200000" flipH="1">
              <a:off x="7052791" y="3131170"/>
              <a:ext cx="598155" cy="428625"/>
            </a:xfrm>
            <a:prstGeom prst="rightArrow">
              <a:avLst>
                <a:gd name="adj1" fmla="val 50000"/>
                <a:gd name="adj2" fmla="val 30256"/>
              </a:avLst>
            </a:prstGeom>
            <a:grpFill/>
            <a:ln w="12700">
              <a:solidFill>
                <a:schemeClr val="bg1"/>
              </a:solidFill>
              <a:miter lim="800000"/>
            </a:ln>
          </p:spPr>
          <p:txBody>
            <a:bodyPr wrap="none" anchor="ctr"/>
            <a:lstStyle/>
            <a:p>
              <a:pPr algn="ctr" fontAlgn="auto">
                <a:spcBef>
                  <a:spcPts val="0"/>
                </a:spcBef>
                <a:spcAft>
                  <a:spcPts val="0"/>
                </a:spcAft>
                <a:buFontTx/>
                <a:buNone/>
                <a:defRPr/>
              </a:pPr>
              <a:endParaRPr lang="en-US">
                <a:latin typeface="+mn-lt"/>
                <a:ea typeface="+mn-ea"/>
              </a:endParaRPr>
            </a:p>
          </p:txBody>
        </p:sp>
        <p:sp>
          <p:nvSpPr>
            <p:cNvPr id="24" name="AutoShape 22"/>
            <p:cNvSpPr>
              <a:spLocks noChangeArrowheads="1"/>
            </p:cNvSpPr>
            <p:nvPr/>
          </p:nvSpPr>
          <p:spPr bwMode="auto">
            <a:xfrm rot="16200000" flipH="1">
              <a:off x="7529037" y="3130875"/>
              <a:ext cx="598155" cy="428625"/>
            </a:xfrm>
            <a:prstGeom prst="rightArrow">
              <a:avLst>
                <a:gd name="adj1" fmla="val 50000"/>
                <a:gd name="adj2" fmla="val 30256"/>
              </a:avLst>
            </a:prstGeom>
            <a:grpFill/>
            <a:ln w="12700">
              <a:solidFill>
                <a:schemeClr val="bg1"/>
              </a:solidFill>
              <a:miter lim="800000"/>
            </a:ln>
          </p:spPr>
          <p:txBody>
            <a:bodyPr wrap="none" anchor="ctr"/>
            <a:lstStyle/>
            <a:p>
              <a:pPr algn="ctr" fontAlgn="auto">
                <a:spcBef>
                  <a:spcPts val="0"/>
                </a:spcBef>
                <a:spcAft>
                  <a:spcPts val="0"/>
                </a:spcAft>
                <a:buFontTx/>
                <a:buNone/>
                <a:defRPr/>
              </a:pPr>
              <a:endParaRPr lang="en-US">
                <a:latin typeface="+mn-lt"/>
                <a:ea typeface="+mn-ea"/>
              </a:endParaRPr>
            </a:p>
          </p:txBody>
        </p:sp>
      </p:grpSp>
      <p:cxnSp>
        <p:nvCxnSpPr>
          <p:cNvPr id="25" name="Straight Connector 43"/>
          <p:cNvCxnSpPr/>
          <p:nvPr/>
        </p:nvCxnSpPr>
        <p:spPr>
          <a:xfrm>
            <a:off x="6656388" y="3908425"/>
            <a:ext cx="211613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3566" name="AutoShape 22"/>
          <p:cNvSpPr/>
          <p:nvPr>
            <p:custDataLst>
              <p:tags r:id="rId8"/>
            </p:custDataLst>
          </p:nvPr>
        </p:nvSpPr>
        <p:spPr>
          <a:xfrm rot="-5400000" flipH="1">
            <a:off x="5884863" y="4457700"/>
            <a:ext cx="533400" cy="419100"/>
          </a:xfrm>
          <a:prstGeom prst="rightArrow">
            <a:avLst>
              <a:gd name="adj1" fmla="val 50000"/>
              <a:gd name="adj2" fmla="val 30233"/>
            </a:avLst>
          </a:prstGeom>
          <a:solidFill>
            <a:schemeClr val="accent6">
              <a:lumMod val="75000"/>
            </a:schemeClr>
          </a:solidFill>
          <a:ln w="12700" cap="flat" cmpd="sng">
            <a:solidFill>
              <a:schemeClr val="bg1"/>
            </a:solidFill>
            <a:prstDash val="solid"/>
            <a:miter/>
            <a:headEnd type="none" w="med" len="med"/>
            <a:tailEnd type="none" w="med" len="med"/>
          </a:ln>
        </p:spPr>
        <p:txBody>
          <a:bodyPr wrap="none" lIns="121917" tIns="60958" rIns="121917" bIns="60958" anchor="ctr"/>
          <a:lstStyle/>
          <a:p>
            <a:pPr algn="ctr">
              <a:defRPr/>
            </a:pPr>
            <a:endParaRPr lang="en-US" altLang="zh-CN" noProof="1"/>
          </a:p>
        </p:txBody>
      </p:sp>
      <p:cxnSp>
        <p:nvCxnSpPr>
          <p:cNvPr id="27" name="Straight Connector 51"/>
          <p:cNvCxnSpPr/>
          <p:nvPr>
            <p:custDataLst>
              <p:tags r:id="rId9"/>
            </p:custDataLst>
          </p:nvPr>
        </p:nvCxnSpPr>
        <p:spPr>
          <a:xfrm>
            <a:off x="6189663" y="4975225"/>
            <a:ext cx="146843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3024" name="矩形 4"/>
          <p:cNvSpPr>
            <a:spLocks noChangeArrowheads="1"/>
          </p:cNvSpPr>
          <p:nvPr/>
        </p:nvSpPr>
        <p:spPr bwMode="auto">
          <a:xfrm>
            <a:off x="8178800" y="3106738"/>
            <a:ext cx="1114425" cy="677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en-US" b="1"/>
              <a:t>过程与方法</a:t>
            </a:r>
          </a:p>
        </p:txBody>
      </p:sp>
      <p:sp>
        <p:nvSpPr>
          <p:cNvPr id="43025" name="矩形 5"/>
          <p:cNvSpPr>
            <a:spLocks noChangeArrowheads="1"/>
          </p:cNvSpPr>
          <p:nvPr/>
        </p:nvSpPr>
        <p:spPr bwMode="auto">
          <a:xfrm>
            <a:off x="8218488" y="3783013"/>
            <a:ext cx="1114425" cy="677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en-US" b="1"/>
              <a:t>技巧与技能</a:t>
            </a:r>
          </a:p>
        </p:txBody>
      </p:sp>
      <p:sp>
        <p:nvSpPr>
          <p:cNvPr id="43026" name="矩形 7"/>
          <p:cNvSpPr>
            <a:spLocks noChangeArrowheads="1"/>
          </p:cNvSpPr>
          <p:nvPr/>
        </p:nvSpPr>
        <p:spPr bwMode="auto">
          <a:xfrm>
            <a:off x="7897813" y="4659313"/>
            <a:ext cx="1174750" cy="677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en-US" b="1">
                <a:solidFill>
                  <a:srgbClr val="C00000"/>
                </a:solidFill>
              </a:rPr>
              <a:t>情感与价值观</a:t>
            </a:r>
          </a:p>
        </p:txBody>
      </p:sp>
      <p:sp>
        <p:nvSpPr>
          <p:cNvPr id="9" name="矩形 8"/>
          <p:cNvSpPr/>
          <p:nvPr/>
        </p:nvSpPr>
        <p:spPr>
          <a:xfrm>
            <a:off x="12700" y="2187575"/>
            <a:ext cx="5008563" cy="3335338"/>
          </a:xfrm>
          <a:prstGeom prst="rect">
            <a:avLst/>
          </a:prstGeom>
        </p:spPr>
        <p:txBody>
          <a:bodyPr lIns="121917" tIns="60958" rIns="121917" bIns="60958">
            <a:spAutoFit/>
          </a:bodyPr>
          <a:lstStyle/>
          <a:p>
            <a:pPr lvl="1" fontAlgn="auto">
              <a:spcBef>
                <a:spcPts val="800"/>
              </a:spcBef>
              <a:spcAft>
                <a:spcPts val="800"/>
              </a:spcAft>
              <a:buClr>
                <a:srgbClr val="C00000"/>
              </a:buClr>
              <a:buFont typeface="Wingdings" panose="05000000000000000000" pitchFamily="2" charset="2"/>
              <a:buChar char="n"/>
              <a:defRPr/>
            </a:pPr>
            <a:r>
              <a:rPr lang="zh-CN" altLang="en-US" b="1" dirty="0">
                <a:solidFill>
                  <a:srgbClr val="00B050"/>
                </a:solidFill>
                <a:latin typeface="+mn-ea"/>
                <a:ea typeface="+mn-ea"/>
              </a:rPr>
              <a:t>理解</a:t>
            </a:r>
            <a:r>
              <a:rPr lang="zh-CN" altLang="en-US" sz="1600" b="1" dirty="0">
                <a:latin typeface="+mn-ea"/>
                <a:ea typeface="+mn-ea"/>
              </a:rPr>
              <a:t>项目管理框架</a:t>
            </a:r>
            <a:r>
              <a:rPr lang="zh-CN" altLang="en-US" b="1" dirty="0">
                <a:latin typeface="+mn-ea"/>
                <a:ea typeface="+mn-ea"/>
              </a:rPr>
              <a:t>，</a:t>
            </a:r>
            <a:r>
              <a:rPr lang="zh-CN" altLang="en-US" b="1" dirty="0">
                <a:solidFill>
                  <a:srgbClr val="00B050"/>
                </a:solidFill>
                <a:latin typeface="+mn-ea"/>
                <a:ea typeface="+mn-ea"/>
              </a:rPr>
              <a:t>增强</a:t>
            </a:r>
            <a:r>
              <a:rPr lang="zh-CN" altLang="en-US" sz="1600" b="1" dirty="0">
                <a:latin typeface="+mn-ea"/>
                <a:ea typeface="+mn-ea"/>
              </a:rPr>
              <a:t>项目管理认识</a:t>
            </a:r>
            <a:r>
              <a:rPr lang="zh-CN" altLang="en-US" b="1" dirty="0">
                <a:latin typeface="+mn-ea"/>
                <a:ea typeface="+mn-ea"/>
              </a:rPr>
              <a:t>；</a:t>
            </a:r>
          </a:p>
          <a:p>
            <a:pPr lvl="1" fontAlgn="auto">
              <a:spcBef>
                <a:spcPts val="800"/>
              </a:spcBef>
              <a:spcAft>
                <a:spcPts val="800"/>
              </a:spcAft>
              <a:buClr>
                <a:srgbClr val="C00000"/>
              </a:buClr>
              <a:buFont typeface="Wingdings" panose="05000000000000000000" pitchFamily="2" charset="2"/>
              <a:buChar char="n"/>
              <a:defRPr/>
            </a:pPr>
            <a:r>
              <a:rPr lang="zh-CN" altLang="en-US" b="1" dirty="0">
                <a:solidFill>
                  <a:srgbClr val="00B050"/>
                </a:solidFill>
                <a:latin typeface="+mn-ea"/>
                <a:ea typeface="+mn-ea"/>
              </a:rPr>
              <a:t>掌握</a:t>
            </a:r>
            <a:r>
              <a:rPr lang="zh-CN" altLang="en-US" sz="1600" b="1" dirty="0">
                <a:latin typeface="+mn-ea"/>
                <a:ea typeface="+mn-ea"/>
              </a:rPr>
              <a:t>项目管理方法</a:t>
            </a:r>
            <a:r>
              <a:rPr lang="zh-CN" altLang="en-US" b="1" dirty="0">
                <a:latin typeface="+mn-ea"/>
                <a:ea typeface="+mn-ea"/>
              </a:rPr>
              <a:t>，</a:t>
            </a:r>
            <a:r>
              <a:rPr lang="zh-CN" altLang="en-US" b="1" dirty="0">
                <a:solidFill>
                  <a:srgbClr val="00B050"/>
                </a:solidFill>
                <a:latin typeface="+mn-ea"/>
                <a:ea typeface="+mn-ea"/>
              </a:rPr>
              <a:t>提高</a:t>
            </a:r>
            <a:r>
              <a:rPr lang="zh-CN" altLang="en-US" sz="1600" b="1" dirty="0">
                <a:latin typeface="+mn-ea"/>
                <a:ea typeface="+mn-ea"/>
              </a:rPr>
              <a:t>项目管控水平和管理能力；</a:t>
            </a:r>
            <a:endParaRPr lang="zh-CN" altLang="en-US" b="1" dirty="0">
              <a:latin typeface="+mn-ea"/>
              <a:ea typeface="+mn-ea"/>
            </a:endParaRPr>
          </a:p>
          <a:p>
            <a:pPr lvl="1" fontAlgn="auto">
              <a:spcBef>
                <a:spcPts val="800"/>
              </a:spcBef>
              <a:spcAft>
                <a:spcPts val="800"/>
              </a:spcAft>
              <a:buClr>
                <a:srgbClr val="C00000"/>
              </a:buClr>
              <a:buFont typeface="Wingdings" panose="05000000000000000000" pitchFamily="2" charset="2"/>
              <a:buChar char="n"/>
              <a:defRPr/>
            </a:pPr>
            <a:r>
              <a:rPr lang="zh-CN" altLang="en-US" b="1" dirty="0">
                <a:solidFill>
                  <a:srgbClr val="00B050"/>
                </a:solidFill>
                <a:latin typeface="+mn-ea"/>
                <a:ea typeface="+mn-ea"/>
              </a:rPr>
              <a:t>熟悉</a:t>
            </a:r>
            <a:r>
              <a:rPr lang="zh-CN" altLang="en-US" sz="1600" b="1" dirty="0">
                <a:latin typeface="+mn-ea"/>
                <a:ea typeface="+mn-ea"/>
              </a:rPr>
              <a:t>项目管理流程</a:t>
            </a:r>
            <a:r>
              <a:rPr lang="zh-CN" altLang="en-US" b="1" dirty="0">
                <a:latin typeface="+mn-ea"/>
                <a:ea typeface="+mn-ea"/>
              </a:rPr>
              <a:t>，</a:t>
            </a:r>
            <a:r>
              <a:rPr lang="zh-CN" altLang="en-US" b="1" dirty="0">
                <a:solidFill>
                  <a:srgbClr val="00B050"/>
                </a:solidFill>
                <a:latin typeface="+mn-ea"/>
                <a:ea typeface="+mn-ea"/>
              </a:rPr>
              <a:t>强化</a:t>
            </a:r>
            <a:r>
              <a:rPr lang="zh-CN" altLang="en-US" sz="1600" b="1" dirty="0">
                <a:latin typeface="+mn-ea"/>
                <a:ea typeface="+mn-ea"/>
              </a:rPr>
              <a:t>项目管理执行力和穿透力；</a:t>
            </a:r>
          </a:p>
          <a:p>
            <a:pPr lvl="1" fontAlgn="auto">
              <a:spcBef>
                <a:spcPts val="800"/>
              </a:spcBef>
              <a:spcAft>
                <a:spcPts val="800"/>
              </a:spcAft>
              <a:buClr>
                <a:srgbClr val="C00000"/>
              </a:buClr>
              <a:buFont typeface="Wingdings" panose="05000000000000000000" pitchFamily="2" charset="2"/>
              <a:buChar char="n"/>
              <a:defRPr/>
            </a:pPr>
            <a:r>
              <a:rPr lang="zh-CN" altLang="en-US" b="1" dirty="0">
                <a:latin typeface="+mn-ea"/>
                <a:ea typeface="+mn-ea"/>
              </a:rPr>
              <a:t>项目管理</a:t>
            </a:r>
            <a:r>
              <a:rPr lang="en-US" altLang="zh-CN" b="1" dirty="0">
                <a:latin typeface="+mn-ea"/>
                <a:ea typeface="+mn-ea"/>
              </a:rPr>
              <a:t>=</a:t>
            </a:r>
            <a:r>
              <a:rPr lang="zh-CN" altLang="en-US" sz="2000" b="1" dirty="0">
                <a:solidFill>
                  <a:srgbClr val="C00000"/>
                </a:solidFill>
                <a:latin typeface="+mn-ea"/>
                <a:ea typeface="+mn-ea"/>
              </a:rPr>
              <a:t>科学</a:t>
            </a:r>
            <a:r>
              <a:rPr lang="en-US" altLang="zh-CN" b="1" dirty="0">
                <a:latin typeface="+mn-ea"/>
                <a:ea typeface="+mn-ea"/>
              </a:rPr>
              <a:t>+</a:t>
            </a:r>
            <a:r>
              <a:rPr lang="zh-CN" altLang="en-US" sz="2000" b="1" dirty="0">
                <a:solidFill>
                  <a:srgbClr val="C00000"/>
                </a:solidFill>
                <a:latin typeface="+mn-ea"/>
                <a:ea typeface="+mn-ea"/>
              </a:rPr>
              <a:t>艺术</a:t>
            </a:r>
            <a:r>
              <a:rPr lang="zh-CN" altLang="en-US" sz="1600" b="1" dirty="0">
                <a:latin typeface="+mn-ea"/>
                <a:ea typeface="+mn-ea"/>
              </a:rPr>
              <a:t>；</a:t>
            </a:r>
          </a:p>
          <a:p>
            <a:pPr lvl="1" fontAlgn="auto">
              <a:spcBef>
                <a:spcPts val="800"/>
              </a:spcBef>
              <a:spcAft>
                <a:spcPts val="800"/>
              </a:spcAft>
              <a:buClr>
                <a:srgbClr val="C00000"/>
              </a:buClr>
              <a:buFont typeface="Wingdings" panose="05000000000000000000" pitchFamily="2" charset="2"/>
              <a:buChar char="n"/>
              <a:defRPr/>
            </a:pPr>
            <a:r>
              <a:rPr lang="zh-CN" altLang="en-US" b="1" dirty="0">
                <a:latin typeface="+mn-ea"/>
                <a:ea typeface="+mn-ea"/>
              </a:rPr>
              <a:t>认识自我，掌握相对全面的</a:t>
            </a:r>
            <a:r>
              <a:rPr lang="zh-CN" altLang="en-US" b="1" dirty="0">
                <a:solidFill>
                  <a:srgbClr val="C00000"/>
                </a:solidFill>
                <a:latin typeface="+mn-ea"/>
                <a:ea typeface="+mn-ea"/>
              </a:rPr>
              <a:t>一套管控体系</a:t>
            </a:r>
            <a:r>
              <a:rPr lang="zh-CN" altLang="en-US" b="1" dirty="0">
                <a:latin typeface="+mn-ea"/>
                <a:ea typeface="+mn-ea"/>
              </a:rPr>
              <a:t>；</a:t>
            </a:r>
          </a:p>
          <a:p>
            <a:pPr lvl="1" fontAlgn="auto">
              <a:spcBef>
                <a:spcPts val="800"/>
              </a:spcBef>
              <a:spcAft>
                <a:spcPts val="800"/>
              </a:spcAft>
              <a:buClr>
                <a:srgbClr val="C00000"/>
              </a:buClr>
              <a:buFont typeface="Wingdings" panose="05000000000000000000" pitchFamily="2" charset="2"/>
              <a:buChar char="n"/>
              <a:defRPr/>
            </a:pPr>
            <a:r>
              <a:rPr lang="zh-CN" altLang="en-US" b="1" dirty="0">
                <a:solidFill>
                  <a:srgbClr val="FFC000"/>
                </a:solidFill>
                <a:latin typeface="+mn-ea"/>
                <a:ea typeface="+mn-ea"/>
              </a:rPr>
              <a:t>项目经理的成功起点！</a:t>
            </a:r>
          </a:p>
        </p:txBody>
      </p:sp>
      <p:sp>
        <p:nvSpPr>
          <p:cNvPr id="28" name="矩形 27"/>
          <p:cNvSpPr/>
          <p:nvPr/>
        </p:nvSpPr>
        <p:spPr>
          <a:xfrm>
            <a:off x="4284663" y="5605463"/>
            <a:ext cx="4762500" cy="612775"/>
          </a:xfrm>
          <a:prstGeom prst="rect">
            <a:avLst/>
          </a:prstGeom>
        </p:spPr>
        <p:txBody>
          <a:bodyPr wrap="none" lIns="121917" tIns="60958" rIns="121917" bIns="60958">
            <a:spAutoFit/>
          </a:bodyPr>
          <a:lstStyle/>
          <a:p>
            <a:pPr lvl="1" fontAlgn="auto">
              <a:spcBef>
                <a:spcPts val="800"/>
              </a:spcBef>
              <a:spcAft>
                <a:spcPts val="800"/>
              </a:spcAft>
              <a:buClr>
                <a:srgbClr val="C00000"/>
              </a:buClr>
              <a:buFontTx/>
              <a:buNone/>
              <a:defRPr/>
            </a:pPr>
            <a:r>
              <a:rPr lang="zh-CN" altLang="en-US" sz="3200" b="1" i="1" dirty="0">
                <a:solidFill>
                  <a:srgbClr val="0324ED"/>
                </a:solidFill>
                <a:latin typeface="+mn-ea"/>
                <a:ea typeface="+mn-ea"/>
              </a:rPr>
              <a:t>连接你我，沟通未来！</a:t>
            </a:r>
          </a:p>
        </p:txBody>
      </p:sp>
      <p:sp>
        <p:nvSpPr>
          <p:cNvPr id="43029" name="文本框 1"/>
          <p:cNvSpPr txBox="1">
            <a:spLocks noChangeArrowheads="1"/>
          </p:cNvSpPr>
          <p:nvPr/>
        </p:nvSpPr>
        <p:spPr bwMode="auto">
          <a:xfrm>
            <a:off x="587375" y="1082675"/>
            <a:ext cx="8389938"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en-US" sz="2400" smtClean="0">
                <a:latin typeface="微软雅黑" pitchFamily="34" charset="-122"/>
              </a:rPr>
              <a:t>学软考，</a:t>
            </a:r>
            <a:r>
              <a:rPr lang="zh-CN" altLang="en-US" sz="4800" b="1">
                <a:solidFill>
                  <a:srgbClr val="C00000"/>
                </a:solidFill>
                <a:latin typeface="隶书" pitchFamily="49" charset="-122"/>
                <a:ea typeface="隶书" pitchFamily="49" charset="-122"/>
              </a:rPr>
              <a:t>解决</a:t>
            </a:r>
            <a:r>
              <a:rPr lang="zh-CN" altLang="en-US" sz="2400">
                <a:latin typeface="微软雅黑" pitchFamily="34" charset="-122"/>
              </a:rPr>
              <a:t>不同阶段遇到的</a:t>
            </a:r>
            <a:r>
              <a:rPr lang="zh-CN" altLang="en-US" sz="4800" b="1">
                <a:solidFill>
                  <a:srgbClr val="C00000"/>
                </a:solidFill>
                <a:latin typeface="隶书" pitchFamily="49" charset="-122"/>
                <a:ea typeface="隶书" pitchFamily="49" charset="-122"/>
              </a:rPr>
              <a:t>管理提升</a:t>
            </a:r>
            <a:r>
              <a:rPr lang="zh-CN" altLang="en-US" sz="2400">
                <a:latin typeface="微软雅黑" pitchFamily="34" charset="-122"/>
              </a:rPr>
              <a:t>难题</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2"/>
          <p:cNvSpPr>
            <a:spLocks noGrp="1" noChangeArrowheads="1"/>
          </p:cNvSpPr>
          <p:nvPr>
            <p:ph type="title"/>
          </p:nvPr>
        </p:nvSpPr>
        <p:spPr>
          <a:xfrm>
            <a:off x="500063" y="644525"/>
            <a:ext cx="8494712" cy="222250"/>
          </a:xfrm>
        </p:spPr>
        <p:txBody>
          <a:bodyPr/>
          <a:lstStyle/>
          <a:p>
            <a:pPr eaLnBrk="1" hangingPunct="1"/>
            <a:r>
              <a:rPr smtClean="0"/>
              <a:t>项目、项目组合、项目集之间的关系</a:t>
            </a:r>
          </a:p>
        </p:txBody>
      </p:sp>
      <p:graphicFrame>
        <p:nvGraphicFramePr>
          <p:cNvPr id="3" name="表格 2"/>
          <p:cNvGraphicFramePr/>
          <p:nvPr/>
        </p:nvGraphicFramePr>
        <p:xfrm>
          <a:off x="579438" y="1298575"/>
          <a:ext cx="8335962" cy="4667250"/>
        </p:xfrm>
        <a:graphic>
          <a:graphicData uri="http://schemas.openxmlformats.org/drawingml/2006/table">
            <a:tbl>
              <a:tblPr firstRow="1" bandRow="1">
                <a:tableStyleId>{5940675A-B579-460E-94D1-54222C63F5DA}</a:tableStyleId>
              </a:tblPr>
              <a:tblGrid>
                <a:gridCol w="1813031"/>
                <a:gridCol w="2861574"/>
                <a:gridCol w="3661357"/>
              </a:tblGrid>
              <a:tr h="379952">
                <a:tc>
                  <a:txBody>
                    <a:bodyPr/>
                    <a:lstStyle/>
                    <a:p>
                      <a:pPr indent="0">
                        <a:buNone/>
                      </a:pPr>
                      <a:r>
                        <a:rPr lang="en-US" sz="1600" b="1" dirty="0">
                          <a:solidFill>
                            <a:srgbClr val="000000"/>
                          </a:solidFill>
                          <a:latin typeface="+mn-ea"/>
                          <a:cs typeface="Courier New" panose="02070309020205020404" charset="0"/>
                        </a:rPr>
                        <a:t> </a:t>
                      </a:r>
                      <a:endParaRPr lang="en-US" altLang="en-US" sz="1600" b="1" dirty="0">
                        <a:solidFill>
                          <a:srgbClr val="000000"/>
                        </a:solidFill>
                        <a:latin typeface="+mn-ea"/>
                        <a:cs typeface="Courier New" panose="02070309020205020404" charset="0"/>
                      </a:endParaRPr>
                    </a:p>
                  </a:txBody>
                  <a:tcPr marL="68584" marR="68584" marT="0" marB="0">
                    <a:lnL>
                      <a:noFill/>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BDBE7"/>
                    </a:solidFill>
                  </a:tcPr>
                </a:tc>
                <a:tc>
                  <a:txBody>
                    <a:bodyPr/>
                    <a:lstStyle/>
                    <a:p>
                      <a:pPr indent="0" algn="ctr">
                        <a:buNone/>
                      </a:pPr>
                      <a:r>
                        <a:rPr lang="en-US" sz="1800" b="1">
                          <a:solidFill>
                            <a:schemeClr val="bg1"/>
                          </a:solidFill>
                          <a:latin typeface="+mn-ea"/>
                          <a:cs typeface="MingLiU" panose="02020509000000000000" charset="-120"/>
                        </a:rPr>
                        <a:t>项目组合</a:t>
                      </a:r>
                      <a:endParaRPr lang="en-US" altLang="en-US" sz="1800" b="1">
                        <a:solidFill>
                          <a:schemeClr val="bg1"/>
                        </a:solidFill>
                        <a:latin typeface="+mn-ea"/>
                        <a:cs typeface="MingLiU" panose="02020509000000000000" charset="-120"/>
                      </a:endParaRPr>
                    </a:p>
                  </a:txBody>
                  <a:tcPr marL="68584" marR="68584"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chemeClr val="accent2">
                        <a:lumMod val="75000"/>
                      </a:schemeClr>
                    </a:solidFill>
                  </a:tcPr>
                </a:tc>
                <a:tc>
                  <a:txBody>
                    <a:bodyPr/>
                    <a:lstStyle/>
                    <a:p>
                      <a:pPr indent="0" algn="ctr">
                        <a:buNone/>
                      </a:pPr>
                      <a:r>
                        <a:rPr lang="en-US" sz="1800" b="1" dirty="0" err="1">
                          <a:solidFill>
                            <a:schemeClr val="bg1"/>
                          </a:solidFill>
                          <a:latin typeface="+mn-ea"/>
                          <a:cs typeface="MingLiU" panose="02020509000000000000" charset="-120"/>
                        </a:rPr>
                        <a:t>项目集</a:t>
                      </a:r>
                      <a:endParaRPr lang="en-US" altLang="en-US" sz="1800" b="1" dirty="0" err="1">
                        <a:solidFill>
                          <a:schemeClr val="bg1"/>
                        </a:solidFill>
                        <a:latin typeface="+mn-ea"/>
                        <a:cs typeface="MingLiU" panose="02020509000000000000" charset="-120"/>
                      </a:endParaRPr>
                    </a:p>
                  </a:txBody>
                  <a:tcPr marL="68584" marR="68584" marT="0" marB="0" anchor="ctr">
                    <a:lnL w="12700" cap="flat" cmpd="sng">
                      <a:solidFill>
                        <a:srgbClr val="080000"/>
                      </a:solidFill>
                      <a:prstDash val="solid"/>
                      <a:headEnd type="none" w="med" len="med"/>
                      <a:tailEnd type="none" w="med" len="med"/>
                    </a:lnL>
                    <a:lnR cap="flat">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00B050"/>
                    </a:solidFill>
                  </a:tcPr>
                </a:tc>
              </a:tr>
              <a:tr h="836792">
                <a:tc>
                  <a:txBody>
                    <a:bodyPr/>
                    <a:lstStyle/>
                    <a:p>
                      <a:pPr indent="0" algn="ctr" fontAlgn="auto">
                        <a:lnSpc>
                          <a:spcPct val="150000"/>
                        </a:lnSpc>
                        <a:buNone/>
                      </a:pPr>
                      <a:r>
                        <a:rPr lang="en-US" sz="1600" b="1" dirty="0" err="1">
                          <a:solidFill>
                            <a:srgbClr val="002060"/>
                          </a:solidFill>
                          <a:latin typeface="+mn-ea"/>
                          <a:cs typeface="MingLiU" panose="02020509000000000000" charset="-120"/>
                        </a:rPr>
                        <a:t>内容</a:t>
                      </a:r>
                      <a:endParaRPr lang="en-US" altLang="en-US" sz="1600" b="1" dirty="0">
                        <a:solidFill>
                          <a:srgbClr val="002060"/>
                        </a:solidFill>
                        <a:latin typeface="+mn-ea"/>
                        <a:cs typeface="MingLiU" panose="02020509000000000000" charset="-120"/>
                      </a:endParaRPr>
                    </a:p>
                  </a:txBody>
                  <a:tcPr marL="68584" marR="68584" marT="0" marB="0" anchor="ctr">
                    <a:lnL>
                      <a:noFill/>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fontAlgn="auto">
                        <a:lnSpc>
                          <a:spcPct val="150000"/>
                        </a:lnSpc>
                        <a:buNone/>
                      </a:pPr>
                      <a:r>
                        <a:rPr lang="en-US" sz="1600" b="0" dirty="0" err="1">
                          <a:solidFill>
                            <a:srgbClr val="656161"/>
                          </a:solidFill>
                          <a:latin typeface="+mn-ea"/>
                          <a:cs typeface="+mn-ea"/>
                        </a:rPr>
                        <a:t>由项目、项目集或子项目组合构成</a:t>
                      </a:r>
                      <a:r>
                        <a:rPr lang="en-US" sz="1600" b="0" dirty="0">
                          <a:solidFill>
                            <a:srgbClr val="656161"/>
                          </a:solidFill>
                          <a:latin typeface="+mn-ea"/>
                          <a:cs typeface="+mn-ea"/>
                        </a:rPr>
                        <a:t>， </a:t>
                      </a:r>
                      <a:r>
                        <a:rPr lang="en-US" sz="1600" b="0" u="sng" dirty="0" err="1">
                          <a:solidFill>
                            <a:srgbClr val="C00000"/>
                          </a:solidFill>
                          <a:latin typeface="+mn-ea"/>
                          <a:cs typeface="+mn-ea"/>
                        </a:rPr>
                        <a:t>且组成部分需定期调整</a:t>
                      </a:r>
                      <a:endParaRPr lang="en-US" altLang="en-US" sz="1600" b="0" u="sng" dirty="0">
                        <a:solidFill>
                          <a:srgbClr val="C00000"/>
                        </a:solidFill>
                        <a:latin typeface="+mn-ea"/>
                        <a:cs typeface="+mn-ea"/>
                      </a:endParaRPr>
                    </a:p>
                  </a:txBody>
                  <a:tcPr marL="68584" marR="68584"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fontAlgn="auto">
                        <a:lnSpc>
                          <a:spcPct val="150000"/>
                        </a:lnSpc>
                        <a:buNone/>
                      </a:pPr>
                      <a:r>
                        <a:rPr lang="en-US" sz="1600" b="0">
                          <a:solidFill>
                            <a:srgbClr val="656161"/>
                          </a:solidFill>
                          <a:latin typeface="+mn-ea"/>
                          <a:cs typeface="+mn-ea"/>
                        </a:rPr>
                        <a:t>由项目或子项目集构成；其组成部分</a:t>
                      </a:r>
                      <a:r>
                        <a:rPr lang="en-US" sz="1600" b="0" u="sng">
                          <a:solidFill>
                            <a:srgbClr val="C00000"/>
                          </a:solidFill>
                          <a:latin typeface="+mn-ea"/>
                          <a:cs typeface="+mn-ea"/>
                        </a:rPr>
                        <a:t>基 本稳定</a:t>
                      </a:r>
                      <a:r>
                        <a:rPr lang="en-US" sz="1600" b="0">
                          <a:solidFill>
                            <a:srgbClr val="656161"/>
                          </a:solidFill>
                          <a:latin typeface="+mn-ea"/>
                          <a:cs typeface="+mn-ea"/>
                        </a:rPr>
                        <a:t>，可做必要调整</a:t>
                      </a:r>
                      <a:endParaRPr lang="en-US" altLang="en-US" sz="1600" b="0">
                        <a:solidFill>
                          <a:srgbClr val="656161"/>
                        </a:solidFill>
                        <a:latin typeface="+mn-ea"/>
                        <a:cs typeface="+mn-ea"/>
                      </a:endParaRPr>
                    </a:p>
                  </a:txBody>
                  <a:tcPr marL="68584" marR="68584" marT="0" marB="0">
                    <a:lnL w="12700" cap="flat" cmpd="sng">
                      <a:solidFill>
                        <a:srgbClr val="080000"/>
                      </a:solidFill>
                      <a:prstDash val="solid"/>
                      <a:headEnd type="none" w="med" len="med"/>
                      <a:tailEnd type="none" w="med" len="med"/>
                    </a:lnL>
                    <a:lnR cap="flat">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r>
              <a:tr h="1175191">
                <a:tc>
                  <a:txBody>
                    <a:bodyPr/>
                    <a:lstStyle/>
                    <a:p>
                      <a:pPr indent="0" algn="ctr" fontAlgn="auto">
                        <a:lnSpc>
                          <a:spcPct val="150000"/>
                        </a:lnSpc>
                        <a:buNone/>
                      </a:pPr>
                      <a:r>
                        <a:rPr lang="en-US" sz="1600" b="1">
                          <a:solidFill>
                            <a:srgbClr val="002060"/>
                          </a:solidFill>
                          <a:latin typeface="+mn-ea"/>
                          <a:cs typeface="MingLiU" panose="02020509000000000000" charset="-120"/>
                        </a:rPr>
                        <a:t>项目间的关系</a:t>
                      </a:r>
                      <a:endParaRPr lang="en-US" altLang="en-US" sz="1600" b="1">
                        <a:solidFill>
                          <a:srgbClr val="002060"/>
                        </a:solidFill>
                        <a:latin typeface="+mn-ea"/>
                        <a:cs typeface="MingLiU" panose="02020509000000000000" charset="-120"/>
                      </a:endParaRPr>
                    </a:p>
                  </a:txBody>
                  <a:tcPr marL="68584" marR="68584" marT="0" marB="0" anchor="ctr">
                    <a:lnL>
                      <a:noFill/>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fontAlgn="auto">
                        <a:lnSpc>
                          <a:spcPct val="150000"/>
                        </a:lnSpc>
                        <a:buNone/>
                      </a:pPr>
                      <a:r>
                        <a:rPr lang="en-US" sz="1600" b="0" u="sng" dirty="0" err="1">
                          <a:solidFill>
                            <a:srgbClr val="C00000"/>
                          </a:solidFill>
                          <a:latin typeface="+mn-ea"/>
                          <a:cs typeface="+mn-ea"/>
                        </a:rPr>
                        <a:t>项目间不一定有内在联系</a:t>
                      </a:r>
                      <a:r>
                        <a:rPr lang="en-US" sz="1600" b="0" dirty="0" err="1">
                          <a:solidFill>
                            <a:srgbClr val="656161"/>
                          </a:solidFill>
                          <a:latin typeface="+mn-ea"/>
                          <a:cs typeface="+mn-ea"/>
                        </a:rPr>
                        <a:t>，只是都要使用组织有限的资源；</a:t>
                      </a:r>
                      <a:r>
                        <a:rPr lang="en-US" sz="1600" b="1" u="sng" dirty="0" err="1">
                          <a:solidFill>
                            <a:srgbClr val="C00000"/>
                          </a:solidFill>
                          <a:latin typeface="+mn-ea"/>
                          <a:cs typeface="+mn-ea"/>
                        </a:rPr>
                        <a:t>各项目有优先级排序</a:t>
                      </a:r>
                      <a:endParaRPr lang="en-US" sz="1600" b="1" u="sng" dirty="0">
                        <a:solidFill>
                          <a:srgbClr val="C00000"/>
                        </a:solidFill>
                        <a:latin typeface="+mn-ea"/>
                        <a:cs typeface="+mn-ea"/>
                      </a:endParaRPr>
                    </a:p>
                  </a:txBody>
                  <a:tcPr marL="68584" marR="68584"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fontAlgn="auto">
                        <a:lnSpc>
                          <a:spcPct val="150000"/>
                        </a:lnSpc>
                        <a:buNone/>
                      </a:pPr>
                      <a:r>
                        <a:rPr lang="en-US" sz="1600" b="0" dirty="0" err="1">
                          <a:solidFill>
                            <a:srgbClr val="656161"/>
                          </a:solidFill>
                          <a:latin typeface="+mn-ea"/>
                          <a:cs typeface="+mn-ea"/>
                        </a:rPr>
                        <a:t>项目间肯定有内在联系；各项目都完全</a:t>
                      </a:r>
                      <a:r>
                        <a:rPr lang="en-US" sz="1600" b="0" dirty="0">
                          <a:solidFill>
                            <a:srgbClr val="656161"/>
                          </a:solidFill>
                          <a:latin typeface="+mn-ea"/>
                          <a:cs typeface="+mn-ea"/>
                        </a:rPr>
                        <a:t> </a:t>
                      </a:r>
                      <a:r>
                        <a:rPr lang="en-US" sz="1600" b="0" dirty="0" err="1">
                          <a:solidFill>
                            <a:srgbClr val="656161"/>
                          </a:solidFill>
                          <a:latin typeface="+mn-ea"/>
                          <a:cs typeface="+mn-ea"/>
                        </a:rPr>
                        <a:t>平等，</a:t>
                      </a:r>
                      <a:r>
                        <a:rPr lang="en-US" sz="1600" b="1" u="sng" dirty="0" err="1">
                          <a:solidFill>
                            <a:srgbClr val="C00000"/>
                          </a:solidFill>
                          <a:latin typeface="+mn-ea"/>
                          <a:cs typeface="+mn-ea"/>
                        </a:rPr>
                        <a:t>无优先级排序</a:t>
                      </a:r>
                      <a:endParaRPr lang="en-US" sz="1600" b="1" u="sng" dirty="0">
                        <a:solidFill>
                          <a:srgbClr val="C00000"/>
                        </a:solidFill>
                        <a:latin typeface="+mn-ea"/>
                        <a:cs typeface="+mn-ea"/>
                      </a:endParaRPr>
                    </a:p>
                  </a:txBody>
                  <a:tcPr marL="68584" marR="68584" marT="0" marB="0" anchor="ctr">
                    <a:lnL w="12700" cap="flat" cmpd="sng">
                      <a:solidFill>
                        <a:srgbClr val="080000"/>
                      </a:solidFill>
                      <a:prstDash val="solid"/>
                      <a:headEnd type="none" w="med" len="med"/>
                      <a:tailEnd type="none" w="med" len="med"/>
                    </a:lnL>
                    <a:lnR cap="flat">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r>
              <a:tr h="868462">
                <a:tc>
                  <a:txBody>
                    <a:bodyPr/>
                    <a:lstStyle/>
                    <a:p>
                      <a:pPr indent="0" algn="ctr" fontAlgn="auto">
                        <a:lnSpc>
                          <a:spcPct val="150000"/>
                        </a:lnSpc>
                        <a:buNone/>
                      </a:pPr>
                      <a:r>
                        <a:rPr lang="en-US" sz="1600" b="1">
                          <a:solidFill>
                            <a:srgbClr val="002060"/>
                          </a:solidFill>
                          <a:latin typeface="+mn-ea"/>
                          <a:cs typeface="MingLiU" panose="02020509000000000000" charset="-120"/>
                        </a:rPr>
                        <a:t>管理的目的</a:t>
                      </a:r>
                      <a:endParaRPr lang="en-US" altLang="en-US" sz="1600" b="1">
                        <a:solidFill>
                          <a:srgbClr val="002060"/>
                        </a:solidFill>
                        <a:latin typeface="+mn-ea"/>
                        <a:cs typeface="MingLiU" panose="02020509000000000000" charset="-120"/>
                      </a:endParaRPr>
                    </a:p>
                  </a:txBody>
                  <a:tcPr marL="68584" marR="68584" marT="0" marB="0" anchor="ctr">
                    <a:lnL>
                      <a:noFill/>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fontAlgn="auto">
                        <a:lnSpc>
                          <a:spcPct val="150000"/>
                        </a:lnSpc>
                        <a:buNone/>
                      </a:pPr>
                      <a:r>
                        <a:rPr lang="en-US" sz="1600" b="0">
                          <a:solidFill>
                            <a:srgbClr val="656161"/>
                          </a:solidFill>
                          <a:latin typeface="+mn-ea"/>
                          <a:cs typeface="+mn-ea"/>
                        </a:rPr>
                        <a:t>排列项目优先顺序，以便确定资源分配的优先顺序</a:t>
                      </a:r>
                      <a:endParaRPr lang="en-US" altLang="en-US" sz="1600" b="0">
                        <a:solidFill>
                          <a:srgbClr val="656161"/>
                        </a:solidFill>
                        <a:latin typeface="+mn-ea"/>
                        <a:cs typeface="+mn-ea"/>
                      </a:endParaRPr>
                    </a:p>
                  </a:txBody>
                  <a:tcPr marL="68584" marR="68584"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fontAlgn="auto">
                        <a:lnSpc>
                          <a:spcPct val="150000"/>
                        </a:lnSpc>
                        <a:buNone/>
                      </a:pPr>
                      <a:r>
                        <a:rPr lang="en-US" sz="1600" b="0" dirty="0" err="1">
                          <a:solidFill>
                            <a:srgbClr val="656161"/>
                          </a:solidFill>
                          <a:latin typeface="+mn-ea"/>
                          <a:cs typeface="MingLiU" panose="02020509000000000000" charset="-120"/>
                        </a:rPr>
                        <a:t>抓住各项目间的内在联系，获得更大效益</a:t>
                      </a:r>
                      <a:endParaRPr lang="en-US" altLang="en-US" sz="1600" b="0" dirty="0">
                        <a:solidFill>
                          <a:srgbClr val="656161"/>
                        </a:solidFill>
                        <a:latin typeface="+mn-ea"/>
                        <a:cs typeface="MingLiU" panose="02020509000000000000" charset="-120"/>
                      </a:endParaRPr>
                    </a:p>
                  </a:txBody>
                  <a:tcPr marL="68584" marR="68584" marT="0" marB="0">
                    <a:lnL w="12700" cap="flat" cmpd="sng">
                      <a:solidFill>
                        <a:srgbClr val="080000"/>
                      </a:solidFill>
                      <a:prstDash val="solid"/>
                      <a:headEnd type="none" w="med" len="med"/>
                      <a:tailEnd type="none" w="med" len="med"/>
                    </a:lnL>
                    <a:lnR cap="flat">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r>
              <a:tr h="538391">
                <a:tc>
                  <a:txBody>
                    <a:bodyPr/>
                    <a:lstStyle/>
                    <a:p>
                      <a:pPr indent="0" algn="ctr" fontAlgn="auto">
                        <a:lnSpc>
                          <a:spcPct val="150000"/>
                        </a:lnSpc>
                        <a:buNone/>
                      </a:pPr>
                      <a:r>
                        <a:rPr lang="en-US" sz="1600" b="1">
                          <a:solidFill>
                            <a:srgbClr val="002060"/>
                          </a:solidFill>
                          <a:latin typeface="+mn-ea"/>
                          <a:cs typeface="MingLiU" panose="02020509000000000000" charset="-120"/>
                        </a:rPr>
                        <a:t>与战略目标的关系</a:t>
                      </a:r>
                      <a:endParaRPr lang="en-US" altLang="en-US" sz="1600" b="1">
                        <a:solidFill>
                          <a:srgbClr val="002060"/>
                        </a:solidFill>
                        <a:latin typeface="+mn-ea"/>
                        <a:cs typeface="MingLiU" panose="02020509000000000000" charset="-120"/>
                      </a:endParaRPr>
                    </a:p>
                  </a:txBody>
                  <a:tcPr marL="68584" marR="68584" marT="0" marB="0">
                    <a:lnL>
                      <a:noFill/>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fontAlgn="auto">
                        <a:lnSpc>
                          <a:spcPct val="150000"/>
                        </a:lnSpc>
                        <a:buNone/>
                      </a:pPr>
                      <a:r>
                        <a:rPr lang="en-US" sz="1600" b="0" u="sng">
                          <a:solidFill>
                            <a:srgbClr val="C00000"/>
                          </a:solidFill>
                          <a:latin typeface="+mn-ea"/>
                          <a:cs typeface="+mn-ea"/>
                        </a:rPr>
                        <a:t>直接服务于组织的战略目标</a:t>
                      </a:r>
                    </a:p>
                  </a:txBody>
                  <a:tcPr marL="68584" marR="68584"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fontAlgn="auto">
                        <a:lnSpc>
                          <a:spcPct val="150000"/>
                        </a:lnSpc>
                        <a:buNone/>
                      </a:pPr>
                      <a:r>
                        <a:rPr lang="en-US" sz="1600" b="0" dirty="0" err="1">
                          <a:solidFill>
                            <a:srgbClr val="656161"/>
                          </a:solidFill>
                          <a:latin typeface="+mn-ea"/>
                          <a:cs typeface="MingLiU" panose="02020509000000000000" charset="-120"/>
                        </a:rPr>
                        <a:t>通过项目组合，为组织的战略目标服务</a:t>
                      </a:r>
                      <a:endParaRPr lang="en-US" altLang="en-US" sz="1600" b="0" dirty="0">
                        <a:solidFill>
                          <a:srgbClr val="656161"/>
                        </a:solidFill>
                        <a:latin typeface="+mn-ea"/>
                        <a:cs typeface="MingLiU" panose="02020509000000000000" charset="-120"/>
                      </a:endParaRPr>
                    </a:p>
                  </a:txBody>
                  <a:tcPr marL="68584" marR="68584" marT="0" marB="0">
                    <a:lnL w="12700" cap="flat" cmpd="sng">
                      <a:solidFill>
                        <a:srgbClr val="080000"/>
                      </a:solidFill>
                      <a:prstDash val="solid"/>
                      <a:headEnd type="none" w="med" len="med"/>
                      <a:tailEnd type="none" w="med" len="med"/>
                    </a:lnL>
                    <a:lnR cap="flat">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r>
              <a:tr h="868462">
                <a:tc>
                  <a:txBody>
                    <a:bodyPr/>
                    <a:lstStyle/>
                    <a:p>
                      <a:pPr indent="0" algn="ctr" fontAlgn="auto">
                        <a:lnSpc>
                          <a:spcPct val="150000"/>
                        </a:lnSpc>
                        <a:buNone/>
                      </a:pPr>
                      <a:r>
                        <a:rPr lang="en-US" sz="1600" b="1">
                          <a:solidFill>
                            <a:srgbClr val="002060"/>
                          </a:solidFill>
                          <a:latin typeface="+mn-ea"/>
                          <a:cs typeface="MingLiU" panose="02020509000000000000" charset="-120"/>
                        </a:rPr>
                        <a:t>结束时间</a:t>
                      </a:r>
                      <a:endParaRPr lang="en-US" altLang="en-US" sz="1600" b="1">
                        <a:solidFill>
                          <a:srgbClr val="002060"/>
                        </a:solidFill>
                        <a:latin typeface="+mn-ea"/>
                        <a:cs typeface="MingLiU" panose="02020509000000000000" charset="-120"/>
                      </a:endParaRPr>
                    </a:p>
                  </a:txBody>
                  <a:tcPr marL="68584" marR="68584" marT="0" marB="0" anchor="ctr">
                    <a:lnL>
                      <a:noFill/>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fontAlgn="auto">
                        <a:lnSpc>
                          <a:spcPct val="150000"/>
                        </a:lnSpc>
                        <a:buNone/>
                      </a:pPr>
                      <a:r>
                        <a:rPr lang="en-US" sz="1600" b="0" dirty="0" err="1">
                          <a:solidFill>
                            <a:srgbClr val="656161"/>
                          </a:solidFill>
                          <a:latin typeface="+mn-ea"/>
                          <a:cs typeface="+mn-ea"/>
                        </a:rPr>
                        <a:t>通常</a:t>
                      </a:r>
                      <a:r>
                        <a:rPr lang="en-US" sz="1600" b="0" u="sng" dirty="0" err="1">
                          <a:solidFill>
                            <a:srgbClr val="C00000"/>
                          </a:solidFill>
                          <a:latin typeface="+mn-ea"/>
                          <a:cs typeface="+mn-ea"/>
                        </a:rPr>
                        <a:t>没有明确的结束时间</a:t>
                      </a:r>
                      <a:r>
                        <a:rPr lang="en-US" sz="1600" b="0" dirty="0" err="1">
                          <a:solidFill>
                            <a:srgbClr val="656161"/>
                          </a:solidFill>
                          <a:latin typeface="+mn-ea"/>
                          <a:cs typeface="+mn-ea"/>
                        </a:rPr>
                        <a:t>（因为战略目标并非一成不变</a:t>
                      </a:r>
                      <a:r>
                        <a:rPr lang="en-US" sz="1600" b="0" dirty="0">
                          <a:solidFill>
                            <a:srgbClr val="656161"/>
                          </a:solidFill>
                          <a:latin typeface="+mn-ea"/>
                          <a:cs typeface="+mn-ea"/>
                        </a:rPr>
                        <a:t>）</a:t>
                      </a:r>
                      <a:endParaRPr lang="en-US" altLang="en-US" sz="1600" b="0" dirty="0">
                        <a:solidFill>
                          <a:srgbClr val="656161"/>
                        </a:solidFill>
                        <a:latin typeface="+mn-ea"/>
                        <a:cs typeface="+mn-ea"/>
                      </a:endParaRPr>
                    </a:p>
                  </a:txBody>
                  <a:tcPr marL="68584" marR="68584"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fontAlgn="auto">
                        <a:lnSpc>
                          <a:spcPct val="150000"/>
                        </a:lnSpc>
                        <a:buNone/>
                      </a:pPr>
                      <a:r>
                        <a:rPr lang="en-US" sz="1600" b="0" dirty="0" err="1">
                          <a:solidFill>
                            <a:srgbClr val="656161"/>
                          </a:solidFill>
                          <a:latin typeface="+mn-ea"/>
                          <a:cs typeface="MingLiU" panose="02020509000000000000" charset="-120"/>
                        </a:rPr>
                        <a:t>可能有或没有明确的结束时间</a:t>
                      </a:r>
                      <a:endParaRPr lang="en-US" altLang="en-US" sz="1600" b="0" dirty="0">
                        <a:solidFill>
                          <a:srgbClr val="656161"/>
                        </a:solidFill>
                        <a:latin typeface="+mn-ea"/>
                        <a:cs typeface="MingLiU" panose="02020509000000000000" charset="-120"/>
                      </a:endParaRPr>
                    </a:p>
                  </a:txBody>
                  <a:tcPr marL="68584" marR="68584" marT="0" marB="0" anchor="ctr">
                    <a:lnL w="12700" cap="flat" cmpd="sng">
                      <a:solidFill>
                        <a:srgbClr val="080000"/>
                      </a:solidFill>
                      <a:prstDash val="solid"/>
                      <a:headEnd type="none" w="med" len="med"/>
                      <a:tailEnd type="none" w="med" len="med"/>
                    </a:lnL>
                    <a:lnR cap="flat">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r>
            </a:tbl>
          </a:graphicData>
        </a:graphic>
      </p:graphicFrame>
      <p:sp>
        <p:nvSpPr>
          <p:cNvPr id="4" name="五角星 3"/>
          <p:cNvSpPr/>
          <p:nvPr/>
        </p:nvSpPr>
        <p:spPr>
          <a:xfrm>
            <a:off x="7434263" y="53816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7" name="五角星 6"/>
          <p:cNvSpPr/>
          <p:nvPr/>
        </p:nvSpPr>
        <p:spPr>
          <a:xfrm>
            <a:off x="7683500" y="53816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0" name="五角星 9"/>
          <p:cNvSpPr/>
          <p:nvPr/>
        </p:nvSpPr>
        <p:spPr>
          <a:xfrm>
            <a:off x="7940675" y="534988"/>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1" name="五角星 10"/>
          <p:cNvSpPr/>
          <p:nvPr/>
        </p:nvSpPr>
        <p:spPr>
          <a:xfrm>
            <a:off x="8180388" y="53816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2" name="五角星 11"/>
          <p:cNvSpPr/>
          <p:nvPr/>
        </p:nvSpPr>
        <p:spPr>
          <a:xfrm>
            <a:off x="8426450" y="53816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3" name="五角星 12"/>
          <p:cNvSpPr/>
          <p:nvPr/>
        </p:nvSpPr>
        <p:spPr>
          <a:xfrm>
            <a:off x="6975475" y="542925"/>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4" name="五角星 13"/>
          <p:cNvSpPr/>
          <p:nvPr/>
        </p:nvSpPr>
        <p:spPr>
          <a:xfrm>
            <a:off x="7221538" y="542925"/>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九阳神功</a:t>
            </a:r>
            <a:endParaRPr lang="zh-CN" altLang="en-US"/>
          </a:p>
        </p:txBody>
      </p:sp>
      <p:sp>
        <p:nvSpPr>
          <p:cNvPr id="3" name="内容占位符 2"/>
          <p:cNvSpPr>
            <a:spLocks noGrp="1"/>
          </p:cNvSpPr>
          <p:nvPr>
            <p:ph idx="1"/>
          </p:nvPr>
        </p:nvSpPr>
        <p:spPr/>
        <p:txBody>
          <a:bodyPr/>
          <a:lstStyle/>
          <a:p>
            <a:pPr>
              <a:lnSpc>
                <a:spcPct val="150000"/>
              </a:lnSpc>
            </a:pPr>
            <a:r>
              <a:rPr lang="en-US" altLang="zh-CN"/>
              <a:t>《</a:t>
            </a:r>
            <a:r>
              <a:rPr lang="zh-CN" altLang="en-US"/>
              <a:t>倚天屠龙记</a:t>
            </a:r>
            <a:r>
              <a:rPr lang="en-US" altLang="zh-CN"/>
              <a:t>》</a:t>
            </a:r>
            <a:r>
              <a:rPr lang="zh-CN" altLang="en-US"/>
              <a:t>是现代小说家金庸</a:t>
            </a:r>
            <a:r>
              <a:rPr lang="en-US" altLang="zh-CN"/>
              <a:t>1961</a:t>
            </a:r>
            <a:r>
              <a:rPr lang="zh-CN" altLang="en-US"/>
              <a:t>年所著的长篇小说，</a:t>
            </a:r>
            <a:r>
              <a:rPr lang="en-US" altLang="zh-CN"/>
              <a:t>"</a:t>
            </a:r>
            <a:r>
              <a:rPr lang="zh-CN" altLang="en-US"/>
              <a:t>射雕三部曲</a:t>
            </a:r>
            <a:r>
              <a:rPr lang="en-US" altLang="zh-CN"/>
              <a:t>"</a:t>
            </a:r>
            <a:r>
              <a:rPr lang="zh-CN" altLang="en-US"/>
              <a:t>系列第三部。</a:t>
            </a:r>
          </a:p>
          <a:p>
            <a:pPr>
              <a:lnSpc>
                <a:spcPct val="150000"/>
              </a:lnSpc>
            </a:pPr>
            <a:r>
              <a:rPr lang="en-US" altLang="zh-CN"/>
              <a:t>《</a:t>
            </a:r>
            <a:r>
              <a:rPr lang="zh-CN" altLang="en-US"/>
              <a:t>倚天屠龙记</a:t>
            </a:r>
            <a:r>
              <a:rPr lang="en-US" altLang="zh-CN"/>
              <a:t>》</a:t>
            </a:r>
            <a:r>
              <a:rPr lang="zh-CN" altLang="en-US"/>
              <a:t>以安徽农民朱元璋揭竿而起建立明朝天下为背景，以张无忌的成长为线索，叙写江湖上的各帮各派、各种人物的恩怨情仇，它把中国历史上元朝的兴衰和江湖道义、恩仇平行交叉起来。</a:t>
            </a:r>
          </a:p>
          <a:p>
            <a:pPr>
              <a:lnSpc>
                <a:spcPct val="150000"/>
              </a:lnSpc>
            </a:pPr>
            <a:endParaRPr lang="zh-CN" altLang="en-US"/>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2207" y="536028"/>
            <a:ext cx="3789077" cy="54453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63131" y="353782"/>
            <a:ext cx="4817352" cy="29049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63131" y="1083077"/>
            <a:ext cx="4817352" cy="27076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4"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63131" y="2325268"/>
            <a:ext cx="4817352" cy="17167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7"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63131" y="2898996"/>
            <a:ext cx="4817352" cy="24651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8" name="Picture 1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63131" y="3500206"/>
            <a:ext cx="4817352" cy="32660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60" name="Picture 12" descr="http://p4.so.qhmsg.com/bdr/_240_/t0112c5493f79279d49.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63131" y="4059029"/>
            <a:ext cx="4817352" cy="27140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45910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052"/>
                                        </p:tgtEl>
                                        <p:attrNameLst>
                                          <p:attrName>style.visibility</p:attrName>
                                        </p:attrNameLst>
                                      </p:cBhvr>
                                      <p:to>
                                        <p:strVal val="visible"/>
                                      </p:to>
                                    </p:set>
                                    <p:anim calcmode="lin" valueType="num">
                                      <p:cBhvr additive="base">
                                        <p:cTn id="13" dur="500" fill="hold"/>
                                        <p:tgtEl>
                                          <p:spTgt spid="2052"/>
                                        </p:tgtEl>
                                        <p:attrNameLst>
                                          <p:attrName>ppt_x</p:attrName>
                                        </p:attrNameLst>
                                      </p:cBhvr>
                                      <p:tavLst>
                                        <p:tav tm="0">
                                          <p:val>
                                            <p:strVal val="#ppt_x"/>
                                          </p:val>
                                        </p:tav>
                                        <p:tav tm="100000">
                                          <p:val>
                                            <p:strVal val="#ppt_x"/>
                                          </p:val>
                                        </p:tav>
                                      </p:tavLst>
                                    </p:anim>
                                    <p:anim calcmode="lin" valueType="num">
                                      <p:cBhvr additive="base">
                                        <p:cTn id="14" dur="500" fill="hold"/>
                                        <p:tgtEl>
                                          <p:spTgt spid="205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053"/>
                                        </p:tgtEl>
                                        <p:attrNameLst>
                                          <p:attrName>style.visibility</p:attrName>
                                        </p:attrNameLst>
                                      </p:cBhvr>
                                      <p:to>
                                        <p:strVal val="visible"/>
                                      </p:to>
                                    </p:set>
                                    <p:anim calcmode="lin" valueType="num">
                                      <p:cBhvr additive="base">
                                        <p:cTn id="19" dur="500" fill="hold"/>
                                        <p:tgtEl>
                                          <p:spTgt spid="2053"/>
                                        </p:tgtEl>
                                        <p:attrNameLst>
                                          <p:attrName>ppt_x</p:attrName>
                                        </p:attrNameLst>
                                      </p:cBhvr>
                                      <p:tavLst>
                                        <p:tav tm="0">
                                          <p:val>
                                            <p:strVal val="#ppt_x"/>
                                          </p:val>
                                        </p:tav>
                                        <p:tav tm="100000">
                                          <p:val>
                                            <p:strVal val="#ppt_x"/>
                                          </p:val>
                                        </p:tav>
                                      </p:tavLst>
                                    </p:anim>
                                    <p:anim calcmode="lin" valueType="num">
                                      <p:cBhvr additive="base">
                                        <p:cTn id="20" dur="500" fill="hold"/>
                                        <p:tgtEl>
                                          <p:spTgt spid="2053"/>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054"/>
                                        </p:tgtEl>
                                        <p:attrNameLst>
                                          <p:attrName>style.visibility</p:attrName>
                                        </p:attrNameLst>
                                      </p:cBhvr>
                                      <p:to>
                                        <p:strVal val="visible"/>
                                      </p:to>
                                    </p:set>
                                    <p:anim calcmode="lin" valueType="num">
                                      <p:cBhvr additive="base">
                                        <p:cTn id="25" dur="500" fill="hold"/>
                                        <p:tgtEl>
                                          <p:spTgt spid="2054"/>
                                        </p:tgtEl>
                                        <p:attrNameLst>
                                          <p:attrName>ppt_x</p:attrName>
                                        </p:attrNameLst>
                                      </p:cBhvr>
                                      <p:tavLst>
                                        <p:tav tm="0">
                                          <p:val>
                                            <p:strVal val="#ppt_x"/>
                                          </p:val>
                                        </p:tav>
                                        <p:tav tm="100000">
                                          <p:val>
                                            <p:strVal val="#ppt_x"/>
                                          </p:val>
                                        </p:tav>
                                      </p:tavLst>
                                    </p:anim>
                                    <p:anim calcmode="lin" valueType="num">
                                      <p:cBhvr additive="base">
                                        <p:cTn id="26" dur="500" fill="hold"/>
                                        <p:tgtEl>
                                          <p:spTgt spid="2054"/>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057"/>
                                        </p:tgtEl>
                                        <p:attrNameLst>
                                          <p:attrName>style.visibility</p:attrName>
                                        </p:attrNameLst>
                                      </p:cBhvr>
                                      <p:to>
                                        <p:strVal val="visible"/>
                                      </p:to>
                                    </p:set>
                                    <p:anim calcmode="lin" valueType="num">
                                      <p:cBhvr additive="base">
                                        <p:cTn id="31" dur="500" fill="hold"/>
                                        <p:tgtEl>
                                          <p:spTgt spid="2057"/>
                                        </p:tgtEl>
                                        <p:attrNameLst>
                                          <p:attrName>ppt_x</p:attrName>
                                        </p:attrNameLst>
                                      </p:cBhvr>
                                      <p:tavLst>
                                        <p:tav tm="0">
                                          <p:val>
                                            <p:strVal val="#ppt_x"/>
                                          </p:val>
                                        </p:tav>
                                        <p:tav tm="100000">
                                          <p:val>
                                            <p:strVal val="#ppt_x"/>
                                          </p:val>
                                        </p:tav>
                                      </p:tavLst>
                                    </p:anim>
                                    <p:anim calcmode="lin" valueType="num">
                                      <p:cBhvr additive="base">
                                        <p:cTn id="32" dur="500" fill="hold"/>
                                        <p:tgtEl>
                                          <p:spTgt spid="2057"/>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058"/>
                                        </p:tgtEl>
                                        <p:attrNameLst>
                                          <p:attrName>style.visibility</p:attrName>
                                        </p:attrNameLst>
                                      </p:cBhvr>
                                      <p:to>
                                        <p:strVal val="visible"/>
                                      </p:to>
                                    </p:set>
                                    <p:anim calcmode="lin" valueType="num">
                                      <p:cBhvr additive="base">
                                        <p:cTn id="37" dur="500" fill="hold"/>
                                        <p:tgtEl>
                                          <p:spTgt spid="2058"/>
                                        </p:tgtEl>
                                        <p:attrNameLst>
                                          <p:attrName>ppt_x</p:attrName>
                                        </p:attrNameLst>
                                      </p:cBhvr>
                                      <p:tavLst>
                                        <p:tav tm="0">
                                          <p:val>
                                            <p:strVal val="#ppt_x"/>
                                          </p:val>
                                        </p:tav>
                                        <p:tav tm="100000">
                                          <p:val>
                                            <p:strVal val="#ppt_x"/>
                                          </p:val>
                                        </p:tav>
                                      </p:tavLst>
                                    </p:anim>
                                    <p:anim calcmode="lin" valueType="num">
                                      <p:cBhvr additive="base">
                                        <p:cTn id="38" dur="500" fill="hold"/>
                                        <p:tgtEl>
                                          <p:spTgt spid="2058"/>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2060"/>
                                        </p:tgtEl>
                                        <p:attrNameLst>
                                          <p:attrName>style.visibility</p:attrName>
                                        </p:attrNameLst>
                                      </p:cBhvr>
                                      <p:to>
                                        <p:strVal val="visible"/>
                                      </p:to>
                                    </p:set>
                                    <p:anim calcmode="lin" valueType="num">
                                      <p:cBhvr additive="base">
                                        <p:cTn id="43" dur="500" fill="hold"/>
                                        <p:tgtEl>
                                          <p:spTgt spid="2060"/>
                                        </p:tgtEl>
                                        <p:attrNameLst>
                                          <p:attrName>ppt_x</p:attrName>
                                        </p:attrNameLst>
                                      </p:cBhvr>
                                      <p:tavLst>
                                        <p:tav tm="0">
                                          <p:val>
                                            <p:strVal val="#ppt_x"/>
                                          </p:val>
                                        </p:tav>
                                        <p:tav tm="100000">
                                          <p:val>
                                            <p:strVal val="#ppt_x"/>
                                          </p:val>
                                        </p:tav>
                                      </p:tavLst>
                                    </p:anim>
                                    <p:anim calcmode="lin" valueType="num">
                                      <p:cBhvr additive="base">
                                        <p:cTn id="44" dur="500" fill="hold"/>
                                        <p:tgtEl>
                                          <p:spTgt spid="206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Rectangle 2"/>
          <p:cNvSpPr>
            <a:spLocks noGrp="1" noChangeArrowheads="1"/>
          </p:cNvSpPr>
          <p:nvPr>
            <p:ph type="title"/>
          </p:nvPr>
        </p:nvSpPr>
        <p:spPr>
          <a:xfrm>
            <a:off x="779463" y="276225"/>
            <a:ext cx="3479800" cy="436563"/>
          </a:xfrm>
        </p:spPr>
        <p:txBody>
          <a:bodyPr/>
          <a:lstStyle/>
          <a:p>
            <a:pPr eaLnBrk="1" hangingPunct="1"/>
            <a:r>
              <a:rPr smtClean="0"/>
              <a:t>运营管理</a:t>
            </a:r>
          </a:p>
        </p:txBody>
      </p:sp>
      <p:sp>
        <p:nvSpPr>
          <p:cNvPr id="47106" name="Rectangle 3"/>
          <p:cNvSpPr>
            <a:spLocks noGrp="1" noChangeArrowheads="1"/>
          </p:cNvSpPr>
          <p:nvPr>
            <p:ph idx="1"/>
          </p:nvPr>
        </p:nvSpPr>
        <p:spPr>
          <a:xfrm>
            <a:off x="417513" y="806450"/>
            <a:ext cx="8453437" cy="1804988"/>
          </a:xfrm>
        </p:spPr>
        <p:txBody>
          <a:bodyPr/>
          <a:lstStyle/>
          <a:p>
            <a:pPr eaLnBrk="1" hangingPunct="1">
              <a:lnSpc>
                <a:spcPct val="120000"/>
              </a:lnSpc>
            </a:pPr>
            <a:r>
              <a:rPr lang="zh-CN" altLang="zh-CN" sz="2000" smtClean="0">
                <a:latin typeface="微软雅黑" pitchFamily="34" charset="-122"/>
              </a:rPr>
              <a:t>运营管理是另外一个领域，超出了</a:t>
            </a:r>
            <a:r>
              <a:rPr lang="zh-CN" altLang="en-US" sz="2000" smtClean="0">
                <a:latin typeface="微软雅黑" pitchFamily="34" charset="-122"/>
              </a:rPr>
              <a:t>软考中</a:t>
            </a:r>
            <a:r>
              <a:rPr lang="zh-CN" altLang="zh-CN" sz="2000" smtClean="0">
                <a:latin typeface="微软雅黑" pitchFamily="34" charset="-122"/>
              </a:rPr>
              <a:t>所描述的规范的项目管理范围。</a:t>
            </a:r>
          </a:p>
          <a:p>
            <a:pPr eaLnBrk="1" hangingPunct="1">
              <a:lnSpc>
                <a:spcPct val="120000"/>
              </a:lnSpc>
            </a:pPr>
            <a:r>
              <a:rPr lang="zh-CN" altLang="zh-CN" sz="2000" smtClean="0">
                <a:solidFill>
                  <a:srgbClr val="C00000"/>
                </a:solidFill>
                <a:latin typeface="微软雅黑" pitchFamily="34" charset="-122"/>
              </a:rPr>
              <a:t>运营管理关注产品的持续生产和（或）服务的持续运作。</a:t>
            </a:r>
            <a:r>
              <a:rPr lang="zh-CN" altLang="zh-CN" sz="2000" smtClean="0">
                <a:latin typeface="微软雅黑" pitchFamily="34" charset="-122"/>
              </a:rPr>
              <a:t>它使用最优资源满足客户要求，来保证业务运作的持续高效。它重点管理那些把各种输入（如材料、零件、能源和劳力）转变为输出（如产品、商品和（或）服务）的过程。 </a:t>
            </a:r>
          </a:p>
          <a:p>
            <a:pPr eaLnBrk="1" hangingPunct="1">
              <a:lnSpc>
                <a:spcPct val="120000"/>
              </a:lnSpc>
            </a:pPr>
            <a:endParaRPr lang="zh-CN" altLang="en-US" sz="2000" smtClean="0">
              <a:latin typeface="微软雅黑" pitchFamily="34" charset="-122"/>
            </a:endParaRPr>
          </a:p>
          <a:p>
            <a:pPr eaLnBrk="1" hangingPunct="1">
              <a:lnSpc>
                <a:spcPct val="120000"/>
              </a:lnSpc>
            </a:pPr>
            <a:endParaRPr lang="zh-CN" altLang="en-US" sz="2000" smtClean="0">
              <a:latin typeface="微软雅黑" pitchFamily="34" charset="-122"/>
            </a:endParaRPr>
          </a:p>
        </p:txBody>
      </p:sp>
      <p:sp>
        <p:nvSpPr>
          <p:cNvPr id="47107" name="Rectangle 3"/>
          <p:cNvSpPr>
            <a:spLocks noChangeArrowheads="1"/>
          </p:cNvSpPr>
          <p:nvPr/>
        </p:nvSpPr>
        <p:spPr bwMode="auto">
          <a:xfrm>
            <a:off x="2095500" y="2851150"/>
            <a:ext cx="4000500" cy="927100"/>
          </a:xfrm>
          <a:prstGeom prst="rect">
            <a:avLst/>
          </a:prstGeom>
          <a:solidFill>
            <a:srgbClr val="0066FF"/>
          </a:solidFill>
          <a:ln>
            <a:noFill/>
          </a:ln>
          <a:scene3d>
            <a:camera prst="legacyPerspectiveBottom"/>
            <a:lightRig rig="legacyFlat3" dir="t"/>
          </a:scene3d>
          <a:sp3d extrusionH="887400" prstMaterial="legacyMatte">
            <a:bevelT w="13500" h="13500" prst="angle"/>
            <a:bevelB w="13500" h="13500" prst="angle"/>
            <a:extrusionClr>
              <a:srgbClr val="0066FF"/>
            </a:extrusionClr>
          </a:sp3d>
          <a:extLst>
            <a:ext uri="{91240B29-F687-4F45-9708-019B960494DF}">
              <a14:hiddenLine xmlns:a14="http://schemas.microsoft.com/office/drawing/2010/main" w="9525">
                <a:noFill/>
                <a:miter lim="800000"/>
                <a:headEnd/>
                <a:tailEnd/>
              </a14:hiddenLine>
            </a:ext>
          </a:extLst>
        </p:spPr>
        <p:txBody>
          <a:bodyPr wrap="none" lIns="121917" tIns="60958" rIns="121917" bIns="60958" anchor="ctr">
            <a:flatTx/>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zh-CN" altLang="en-US" sz="4000">
                <a:solidFill>
                  <a:schemeClr val="bg1"/>
                </a:solidFill>
                <a:latin typeface="Arial" pitchFamily="34" charset="0"/>
              </a:rPr>
              <a:t>战略管理</a:t>
            </a:r>
          </a:p>
        </p:txBody>
      </p:sp>
      <p:sp>
        <p:nvSpPr>
          <p:cNvPr id="47108" name="Rectangle 4"/>
          <p:cNvSpPr>
            <a:spLocks noChangeArrowheads="1"/>
          </p:cNvSpPr>
          <p:nvPr/>
        </p:nvSpPr>
        <p:spPr bwMode="auto">
          <a:xfrm>
            <a:off x="5716588" y="5235575"/>
            <a:ext cx="2957512" cy="960438"/>
          </a:xfrm>
          <a:prstGeom prst="rect">
            <a:avLst/>
          </a:prstGeom>
          <a:solidFill>
            <a:srgbClr val="0066FF"/>
          </a:solidFill>
          <a:ln>
            <a:noFill/>
          </a:ln>
          <a:scene3d>
            <a:camera prst="legacyObliqueTopLeft"/>
            <a:lightRig rig="legacyFlat3" dir="t"/>
          </a:scene3d>
          <a:sp3d extrusionH="430200" prstMaterial="legacyMatte">
            <a:bevelT w="13500" h="13500" prst="angle"/>
            <a:bevelB w="13500" h="13500" prst="angle"/>
            <a:extrusionClr>
              <a:srgbClr val="0066FF"/>
            </a:extrusionClr>
          </a:sp3d>
          <a:extLst>
            <a:ext uri="{91240B29-F687-4F45-9708-019B960494DF}">
              <a14:hiddenLine xmlns:a14="http://schemas.microsoft.com/office/drawing/2010/main" w="9525">
                <a:noFill/>
                <a:miter lim="800000"/>
                <a:headEnd/>
                <a:tailEnd/>
              </a14:hiddenLine>
            </a:ext>
          </a:extLst>
        </p:spPr>
        <p:txBody>
          <a:bodyPr wrap="none" lIns="121917" tIns="60958" rIns="121917" bIns="60958" anchor="ctr">
            <a:flatTx/>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zh-CN" altLang="en-US" sz="4000">
                <a:solidFill>
                  <a:schemeClr val="bg1"/>
                </a:solidFill>
                <a:latin typeface="Arial" pitchFamily="34" charset="0"/>
              </a:rPr>
              <a:t>项目管理</a:t>
            </a:r>
          </a:p>
        </p:txBody>
      </p:sp>
      <p:sp>
        <p:nvSpPr>
          <p:cNvPr id="47109" name="Rectangle 5"/>
          <p:cNvSpPr>
            <a:spLocks noChangeArrowheads="1"/>
          </p:cNvSpPr>
          <p:nvPr/>
        </p:nvSpPr>
        <p:spPr bwMode="auto">
          <a:xfrm>
            <a:off x="700088" y="5249863"/>
            <a:ext cx="2801937" cy="914400"/>
          </a:xfrm>
          <a:prstGeom prst="rect">
            <a:avLst/>
          </a:prstGeom>
          <a:solidFill>
            <a:srgbClr val="0066FF"/>
          </a:solidFill>
          <a:ln>
            <a:noFill/>
          </a:ln>
          <a:scene3d>
            <a:camera prst="legacyObliqueTopRight"/>
            <a:lightRig rig="legacyFlat3" dir="b"/>
          </a:scene3d>
          <a:sp3d extrusionH="430200" prstMaterial="legacyMatte">
            <a:bevelT w="13500" h="13500" prst="angle"/>
            <a:bevelB w="13500" h="13500" prst="angle"/>
            <a:extrusionClr>
              <a:srgbClr val="0066FF"/>
            </a:extrusionClr>
          </a:sp3d>
          <a:extLst>
            <a:ext uri="{91240B29-F687-4F45-9708-019B960494DF}">
              <a14:hiddenLine xmlns:a14="http://schemas.microsoft.com/office/drawing/2010/main" w="9525">
                <a:noFill/>
                <a:miter lim="800000"/>
                <a:headEnd/>
                <a:tailEnd/>
              </a14:hiddenLine>
            </a:ext>
          </a:extLst>
        </p:spPr>
        <p:txBody>
          <a:bodyPr wrap="none" lIns="121917" tIns="60958" rIns="121917" bIns="60958" anchor="ctr">
            <a:flatTx/>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zh-CN" altLang="en-US" sz="4000">
                <a:solidFill>
                  <a:schemeClr val="bg1"/>
                </a:solidFill>
                <a:latin typeface="Arial" pitchFamily="34" charset="0"/>
              </a:rPr>
              <a:t>运营管理</a:t>
            </a:r>
          </a:p>
        </p:txBody>
      </p:sp>
      <p:sp>
        <p:nvSpPr>
          <p:cNvPr id="47110" name="Line 6"/>
          <p:cNvSpPr>
            <a:spLocks noChangeShapeType="1"/>
          </p:cNvSpPr>
          <p:nvPr/>
        </p:nvSpPr>
        <p:spPr bwMode="auto">
          <a:xfrm>
            <a:off x="3581400" y="5976938"/>
            <a:ext cx="2135188" cy="0"/>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7111" name="Line 7"/>
          <p:cNvSpPr>
            <a:spLocks noChangeShapeType="1"/>
          </p:cNvSpPr>
          <p:nvPr/>
        </p:nvSpPr>
        <p:spPr bwMode="auto">
          <a:xfrm>
            <a:off x="5005388" y="3824288"/>
            <a:ext cx="2005012" cy="1225550"/>
          </a:xfrm>
          <a:prstGeom prst="line">
            <a:avLst/>
          </a:prstGeom>
          <a:noFill/>
          <a:ln w="2540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7112" name="Line 8"/>
          <p:cNvSpPr>
            <a:spLocks noChangeShapeType="1"/>
          </p:cNvSpPr>
          <p:nvPr/>
        </p:nvSpPr>
        <p:spPr bwMode="auto">
          <a:xfrm flipH="1" flipV="1">
            <a:off x="4608513" y="3889375"/>
            <a:ext cx="2005012" cy="1241425"/>
          </a:xfrm>
          <a:prstGeom prst="line">
            <a:avLst/>
          </a:prstGeom>
          <a:noFill/>
          <a:ln w="2540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7113" name="Text Box 9" descr="白色大理石"/>
          <p:cNvSpPr txBox="1">
            <a:spLocks noChangeArrowheads="1"/>
          </p:cNvSpPr>
          <p:nvPr/>
        </p:nvSpPr>
        <p:spPr bwMode="auto">
          <a:xfrm>
            <a:off x="6242050" y="3632200"/>
            <a:ext cx="1524000"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121917" tIns="60958" rIns="121917" bIns="60958">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spcBef>
                <a:spcPct val="50000"/>
              </a:spcBef>
            </a:pPr>
            <a:r>
              <a:rPr lang="zh-CN" altLang="en-US" sz="2400" b="1">
                <a:solidFill>
                  <a:srgbClr val="002060"/>
                </a:solidFill>
                <a:latin typeface="Arial" pitchFamily="34" charset="0"/>
              </a:rPr>
              <a:t>选择做哪些项目</a:t>
            </a:r>
          </a:p>
        </p:txBody>
      </p:sp>
      <p:sp>
        <p:nvSpPr>
          <p:cNvPr id="47114" name="Text Box 10" descr="白色大理石"/>
          <p:cNvSpPr txBox="1">
            <a:spLocks noChangeArrowheads="1"/>
          </p:cNvSpPr>
          <p:nvPr/>
        </p:nvSpPr>
        <p:spPr bwMode="auto">
          <a:xfrm>
            <a:off x="3481388" y="4264025"/>
            <a:ext cx="1828800"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121917" tIns="60958" rIns="121917" bIns="60958">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spcBef>
                <a:spcPct val="50000"/>
              </a:spcBef>
            </a:pPr>
            <a:r>
              <a:rPr lang="zh-CN" altLang="en-US" sz="2400" b="1">
                <a:solidFill>
                  <a:srgbClr val="002060"/>
                </a:solidFill>
                <a:latin typeface="Arial" pitchFamily="34" charset="0"/>
              </a:rPr>
              <a:t>支持战略目标的实现</a:t>
            </a:r>
          </a:p>
        </p:txBody>
      </p:sp>
      <p:sp>
        <p:nvSpPr>
          <p:cNvPr id="47115" name="Text Box 11" descr="白色大理石"/>
          <p:cNvSpPr txBox="1">
            <a:spLocks noChangeArrowheads="1"/>
          </p:cNvSpPr>
          <p:nvPr/>
        </p:nvSpPr>
        <p:spPr bwMode="auto">
          <a:xfrm>
            <a:off x="3938588" y="5886450"/>
            <a:ext cx="152400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121917" tIns="60958" rIns="121917" bIns="60958">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spcBef>
                <a:spcPct val="50000"/>
              </a:spcBef>
            </a:pPr>
            <a:r>
              <a:rPr lang="zh-CN" altLang="en-US" sz="2400" b="1">
                <a:solidFill>
                  <a:srgbClr val="C00000"/>
                </a:solidFill>
                <a:latin typeface="Arial" pitchFamily="34" charset="0"/>
              </a:rPr>
              <a:t>支持</a:t>
            </a:r>
          </a:p>
        </p:txBody>
      </p:sp>
      <p:sp>
        <p:nvSpPr>
          <p:cNvPr id="47116" name="Line 6"/>
          <p:cNvSpPr>
            <a:spLocks noChangeShapeType="1"/>
          </p:cNvSpPr>
          <p:nvPr/>
        </p:nvSpPr>
        <p:spPr bwMode="auto">
          <a:xfrm rot="-180000" flipH="1" flipV="1">
            <a:off x="3641725" y="5287963"/>
            <a:ext cx="2001838" cy="106362"/>
          </a:xfrm>
          <a:prstGeom prst="line">
            <a:avLst/>
          </a:prstGeom>
          <a:noFill/>
          <a:ln w="28575">
            <a:solidFill>
              <a:srgbClr val="00B05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7117" name="Text Box 11" descr="白色大理石"/>
          <p:cNvSpPr txBox="1">
            <a:spLocks noChangeArrowheads="1"/>
          </p:cNvSpPr>
          <p:nvPr/>
        </p:nvSpPr>
        <p:spPr bwMode="auto">
          <a:xfrm>
            <a:off x="3938588" y="5249863"/>
            <a:ext cx="152400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121917" tIns="60958" rIns="121917" bIns="60958">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spcBef>
                <a:spcPct val="50000"/>
              </a:spcBef>
            </a:pPr>
            <a:r>
              <a:rPr lang="zh-CN" altLang="en-US" sz="2400" b="1">
                <a:solidFill>
                  <a:srgbClr val="00B050"/>
                </a:solidFill>
                <a:latin typeface="Arial" pitchFamily="34" charset="0"/>
              </a:rPr>
              <a:t>转移</a:t>
            </a:r>
          </a:p>
        </p:txBody>
      </p:sp>
      <p:sp>
        <p:nvSpPr>
          <p:cNvPr id="2" name="五角星 1"/>
          <p:cNvSpPr/>
          <p:nvPr/>
        </p:nvSpPr>
        <p:spPr>
          <a:xfrm>
            <a:off x="3340100" y="368300"/>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7" name="五角星 6"/>
          <p:cNvSpPr/>
          <p:nvPr/>
        </p:nvSpPr>
        <p:spPr>
          <a:xfrm>
            <a:off x="3589338" y="368300"/>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0" name="五角星 9"/>
          <p:cNvSpPr/>
          <p:nvPr/>
        </p:nvSpPr>
        <p:spPr>
          <a:xfrm>
            <a:off x="3846513" y="365125"/>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1" name="五角星 10"/>
          <p:cNvSpPr/>
          <p:nvPr/>
        </p:nvSpPr>
        <p:spPr>
          <a:xfrm>
            <a:off x="4086225" y="368300"/>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2" name="五角星 11"/>
          <p:cNvSpPr/>
          <p:nvPr/>
        </p:nvSpPr>
        <p:spPr>
          <a:xfrm>
            <a:off x="4332288" y="368300"/>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3" name="五角星 12"/>
          <p:cNvSpPr/>
          <p:nvPr/>
        </p:nvSpPr>
        <p:spPr>
          <a:xfrm>
            <a:off x="2833688" y="37306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4" name="五角星 13"/>
          <p:cNvSpPr/>
          <p:nvPr/>
        </p:nvSpPr>
        <p:spPr>
          <a:xfrm>
            <a:off x="3079750" y="37306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Rectangle 2"/>
          <p:cNvSpPr>
            <a:spLocks noGrp="1" noChangeArrowheads="1"/>
          </p:cNvSpPr>
          <p:nvPr>
            <p:ph type="title"/>
          </p:nvPr>
        </p:nvSpPr>
        <p:spPr>
          <a:xfrm>
            <a:off x="409575" y="647700"/>
            <a:ext cx="8940800" cy="563563"/>
          </a:xfrm>
        </p:spPr>
        <p:txBody>
          <a:bodyPr/>
          <a:lstStyle/>
          <a:p>
            <a:pPr eaLnBrk="1" hangingPunct="1"/>
            <a:r>
              <a:rPr smtClean="0"/>
              <a:t>项目管理与运营管理之间的区别、联系</a:t>
            </a:r>
          </a:p>
        </p:txBody>
      </p:sp>
      <p:sp>
        <p:nvSpPr>
          <p:cNvPr id="49154" name="AutoShape 2" descr="绿色大理石"/>
          <p:cNvSpPr>
            <a:spLocks noChangeArrowheads="1"/>
          </p:cNvSpPr>
          <p:nvPr/>
        </p:nvSpPr>
        <p:spPr bwMode="auto">
          <a:xfrm>
            <a:off x="4256088" y="1098550"/>
            <a:ext cx="4586287" cy="4619625"/>
          </a:xfrm>
          <a:prstGeom prst="rightArrow">
            <a:avLst>
              <a:gd name="adj1" fmla="val 50000"/>
              <a:gd name="adj2" fmla="val 24856"/>
            </a:avLst>
          </a:prstGeom>
          <a:solidFill>
            <a:srgbClr val="00B050"/>
          </a:solidFill>
          <a:ln>
            <a:noFill/>
          </a:ln>
          <a:scene3d>
            <a:camera prst="legacyObliqueTopRight"/>
            <a:lightRig rig="legacyFlat2" dir="t"/>
          </a:scene3d>
          <a:sp3d extrusionH="176200" prstMaterial="legacyMatte">
            <a:bevelT w="13500" h="13500" prst="angle"/>
            <a:bevelB w="13500" h="13500" prst="angle"/>
            <a:extrusionClr>
              <a:srgbClr val="006600"/>
            </a:extrusionClr>
          </a:sp3d>
          <a:extLst>
            <a:ext uri="{91240B29-F687-4F45-9708-019B960494DF}">
              <a14:hiddenLine xmlns:a14="http://schemas.microsoft.com/office/drawing/2010/main" w="9525">
                <a:noFill/>
                <a:miter lim="800000"/>
                <a:headEnd/>
                <a:tailEnd/>
              </a14:hiddenLine>
            </a:ext>
          </a:extLst>
        </p:spPr>
        <p:txBody>
          <a:bodyPr lIns="109725" tIns="21307" rIns="21307" bIns="21307">
            <a:flatTx/>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endParaRPr lang="zh-CN" altLang="en-US"/>
          </a:p>
        </p:txBody>
      </p:sp>
      <p:sp>
        <p:nvSpPr>
          <p:cNvPr id="414723" name="Rectangle 3" descr="白色大理石"/>
          <p:cNvSpPr>
            <a:spLocks noChangeArrowheads="1"/>
          </p:cNvSpPr>
          <p:nvPr/>
        </p:nvSpPr>
        <p:spPr bwMode="blackWhite">
          <a:xfrm>
            <a:off x="1038225" y="2241550"/>
            <a:ext cx="3775075" cy="2349500"/>
          </a:xfrm>
          <a:prstGeom prst="rect">
            <a:avLst/>
          </a:prstGeom>
          <a:solidFill>
            <a:srgbClr val="00B0F0"/>
          </a:solidFill>
          <a:ln w="12700" algn="ctr">
            <a:miter lim="800000"/>
          </a:ln>
          <a:effectLst/>
          <a:scene3d>
            <a:camera prst="legacyObliqueTopRight"/>
            <a:lightRig rig="legacyFlat2" dir="t"/>
          </a:scene3d>
          <a:sp3d extrusionH="176200" prstMaterial="legacyMatte">
            <a:bevelT w="13500" h="13500" prst="angle"/>
            <a:bevelB w="13500" h="13500" prst="angle"/>
            <a:extrusionClr>
              <a:srgbClr val="FFFFFF"/>
            </a:extrusionClr>
          </a:sp3d>
        </p:spPr>
        <p:txBody>
          <a:bodyPr lIns="109725" tIns="21307" rIns="21307" bIns="21307">
            <a:flatTx/>
          </a:bodyPr>
          <a:lstStyle/>
          <a:p>
            <a:pPr fontAlgn="auto">
              <a:spcBef>
                <a:spcPts val="0"/>
              </a:spcBef>
              <a:spcAft>
                <a:spcPts val="0"/>
              </a:spcAft>
              <a:buFontTx/>
              <a:buNone/>
              <a:defRPr/>
            </a:pPr>
            <a:endParaRPr lang="zh-CN" altLang="en-US" dirty="0">
              <a:solidFill>
                <a:schemeClr val="bg1">
                  <a:lumMod val="95000"/>
                </a:schemeClr>
              </a:solidFill>
              <a:latin typeface="微软雅黑" panose="020B0503020204020204" pitchFamily="34" charset="-122"/>
            </a:endParaRPr>
          </a:p>
        </p:txBody>
      </p:sp>
      <p:sp>
        <p:nvSpPr>
          <p:cNvPr id="49156" name="Text Box 4"/>
          <p:cNvSpPr txBox="1">
            <a:spLocks noChangeArrowheads="1"/>
          </p:cNvSpPr>
          <p:nvPr/>
        </p:nvSpPr>
        <p:spPr bwMode="auto">
          <a:xfrm>
            <a:off x="892175" y="1698625"/>
            <a:ext cx="322897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121917" tIns="60958" rIns="121917" bIns="60958">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spcBef>
                <a:spcPct val="50000"/>
              </a:spcBef>
            </a:pPr>
            <a:r>
              <a:rPr lang="zh-CN" altLang="en-US" b="1">
                <a:solidFill>
                  <a:srgbClr val="0070C0"/>
                </a:solidFill>
                <a:latin typeface="微软雅黑" pitchFamily="34" charset="-122"/>
              </a:rPr>
              <a:t>项目</a:t>
            </a:r>
            <a:r>
              <a:rPr lang="zh-CN" altLang="en-US">
                <a:solidFill>
                  <a:srgbClr val="0070C0"/>
                </a:solidFill>
                <a:latin typeface="微软雅黑" pitchFamily="34" charset="-122"/>
              </a:rPr>
              <a:t> </a:t>
            </a:r>
            <a:r>
              <a:rPr lang="en-US" altLang="zh-CN" sz="1900" b="1">
                <a:solidFill>
                  <a:srgbClr val="0070C0"/>
                </a:solidFill>
                <a:latin typeface="微软雅黑" pitchFamily="34" charset="-122"/>
              </a:rPr>
              <a:t>Project</a:t>
            </a:r>
          </a:p>
        </p:txBody>
      </p:sp>
      <p:sp>
        <p:nvSpPr>
          <p:cNvPr id="49157" name="Text Box 5"/>
          <p:cNvSpPr txBox="1">
            <a:spLocks noChangeArrowheads="1"/>
          </p:cNvSpPr>
          <p:nvPr/>
        </p:nvSpPr>
        <p:spPr bwMode="auto">
          <a:xfrm>
            <a:off x="1355725" y="2433638"/>
            <a:ext cx="4184650" cy="181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121917" tIns="60958" rIns="121917" bIns="60958">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spcBef>
                <a:spcPct val="50000"/>
              </a:spcBef>
            </a:pPr>
            <a:r>
              <a:rPr lang="zh-CN" altLang="en-US" sz="2000" b="1">
                <a:solidFill>
                  <a:schemeClr val="bg1"/>
                </a:solidFill>
                <a:latin typeface="微软雅黑" pitchFamily="34" charset="-122"/>
              </a:rPr>
              <a:t>工作性质：独特，创新</a:t>
            </a:r>
          </a:p>
          <a:p>
            <a:pPr>
              <a:spcBef>
                <a:spcPct val="50000"/>
              </a:spcBef>
            </a:pPr>
            <a:r>
              <a:rPr lang="zh-CN" altLang="en-US" sz="2000" b="1">
                <a:solidFill>
                  <a:schemeClr val="bg1"/>
                </a:solidFill>
                <a:latin typeface="微软雅黑" pitchFamily="34" charset="-122"/>
              </a:rPr>
              <a:t>工作环境：开放，风险</a:t>
            </a:r>
          </a:p>
          <a:p>
            <a:pPr>
              <a:spcBef>
                <a:spcPct val="50000"/>
              </a:spcBef>
            </a:pPr>
            <a:r>
              <a:rPr lang="zh-CN" altLang="en-US" sz="2000" b="1">
                <a:solidFill>
                  <a:schemeClr val="bg1"/>
                </a:solidFill>
                <a:latin typeface="微软雅黑" pitchFamily="34" charset="-122"/>
              </a:rPr>
              <a:t>管理组织：临时，变化</a:t>
            </a:r>
          </a:p>
          <a:p>
            <a:pPr>
              <a:spcBef>
                <a:spcPct val="50000"/>
              </a:spcBef>
            </a:pPr>
            <a:r>
              <a:rPr lang="zh-CN" altLang="en-US" sz="2000" b="1">
                <a:solidFill>
                  <a:schemeClr val="bg1"/>
                </a:solidFill>
                <a:latin typeface="微软雅黑" pitchFamily="34" charset="-122"/>
              </a:rPr>
              <a:t>目        的：结束项目</a:t>
            </a:r>
          </a:p>
        </p:txBody>
      </p:sp>
      <p:sp>
        <p:nvSpPr>
          <p:cNvPr id="49158" name="Text Box 6"/>
          <p:cNvSpPr txBox="1">
            <a:spLocks noChangeArrowheads="1"/>
          </p:cNvSpPr>
          <p:nvPr/>
        </p:nvSpPr>
        <p:spPr bwMode="auto">
          <a:xfrm>
            <a:off x="3798888" y="1689100"/>
            <a:ext cx="5043487"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121917" tIns="60958" rIns="121917" bIns="60958">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spcBef>
                <a:spcPct val="50000"/>
              </a:spcBef>
            </a:pPr>
            <a:r>
              <a:rPr lang="zh-CN" altLang="en-US" b="1">
                <a:solidFill>
                  <a:srgbClr val="00B050"/>
                </a:solidFill>
                <a:latin typeface="微软雅黑" pitchFamily="34" charset="-122"/>
              </a:rPr>
              <a:t>运营 </a:t>
            </a:r>
            <a:r>
              <a:rPr lang="en-US" altLang="zh-CN" sz="1900" b="1">
                <a:solidFill>
                  <a:srgbClr val="00B050"/>
                </a:solidFill>
                <a:latin typeface="微软雅黑" pitchFamily="34" charset="-122"/>
              </a:rPr>
              <a:t>Operational Work</a:t>
            </a:r>
          </a:p>
        </p:txBody>
      </p:sp>
      <p:sp>
        <p:nvSpPr>
          <p:cNvPr id="49159" name="Text Box 7"/>
          <p:cNvSpPr txBox="1">
            <a:spLocks noChangeArrowheads="1"/>
          </p:cNvSpPr>
          <p:nvPr/>
        </p:nvSpPr>
        <p:spPr bwMode="auto">
          <a:xfrm>
            <a:off x="4937125" y="2503488"/>
            <a:ext cx="4184650" cy="181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121917" tIns="60958" rIns="121917" bIns="60958">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spcBef>
                <a:spcPct val="50000"/>
              </a:spcBef>
            </a:pPr>
            <a:r>
              <a:rPr lang="zh-CN" altLang="en-US" sz="2000" b="1">
                <a:solidFill>
                  <a:schemeClr val="bg1"/>
                </a:solidFill>
                <a:latin typeface="微软雅黑" pitchFamily="34" charset="-122"/>
              </a:rPr>
              <a:t>工作性质：常规，重复</a:t>
            </a:r>
          </a:p>
          <a:p>
            <a:pPr>
              <a:spcBef>
                <a:spcPct val="50000"/>
              </a:spcBef>
            </a:pPr>
            <a:r>
              <a:rPr lang="zh-CN" altLang="en-US" sz="2000" b="1">
                <a:solidFill>
                  <a:schemeClr val="bg1"/>
                </a:solidFill>
                <a:latin typeface="微软雅黑" pitchFamily="34" charset="-122"/>
              </a:rPr>
              <a:t>工作环境：封闭，确定</a:t>
            </a:r>
          </a:p>
          <a:p>
            <a:pPr>
              <a:spcBef>
                <a:spcPct val="50000"/>
              </a:spcBef>
            </a:pPr>
            <a:r>
              <a:rPr lang="zh-CN" altLang="en-US" sz="2000" b="1">
                <a:solidFill>
                  <a:schemeClr val="bg1"/>
                </a:solidFill>
                <a:latin typeface="微软雅黑" pitchFamily="34" charset="-122"/>
              </a:rPr>
              <a:t>管理组织：稳定，持久</a:t>
            </a:r>
          </a:p>
          <a:p>
            <a:pPr>
              <a:spcBef>
                <a:spcPct val="50000"/>
              </a:spcBef>
            </a:pPr>
            <a:r>
              <a:rPr lang="zh-CN" altLang="en-US" sz="2000" b="1">
                <a:solidFill>
                  <a:schemeClr val="bg1"/>
                </a:solidFill>
                <a:latin typeface="微软雅黑" pitchFamily="34" charset="-122"/>
              </a:rPr>
              <a:t>目       的： 维持经营</a:t>
            </a:r>
          </a:p>
        </p:txBody>
      </p:sp>
      <p:sp>
        <p:nvSpPr>
          <p:cNvPr id="49160" name="矩形 1"/>
          <p:cNvSpPr>
            <a:spLocks noChangeArrowheads="1"/>
          </p:cNvSpPr>
          <p:nvPr/>
        </p:nvSpPr>
        <p:spPr bwMode="auto">
          <a:xfrm>
            <a:off x="1174750" y="4843463"/>
            <a:ext cx="2946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en-US" b="1" i="1">
                <a:solidFill>
                  <a:srgbClr val="C00000"/>
                </a:solidFill>
              </a:rPr>
              <a:t>以实现目标为宗旨</a:t>
            </a:r>
            <a:endParaRPr lang="en-US" altLang="zh-CN" b="1" i="1">
              <a:solidFill>
                <a:srgbClr val="C00000"/>
              </a:solidFill>
            </a:endParaRPr>
          </a:p>
        </p:txBody>
      </p:sp>
      <p:sp>
        <p:nvSpPr>
          <p:cNvPr id="49161" name="矩形 2"/>
          <p:cNvSpPr>
            <a:spLocks noChangeArrowheads="1"/>
          </p:cNvSpPr>
          <p:nvPr/>
        </p:nvSpPr>
        <p:spPr bwMode="auto">
          <a:xfrm>
            <a:off x="5130800" y="4856163"/>
            <a:ext cx="24590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en-US" b="1" i="1">
                <a:solidFill>
                  <a:srgbClr val="FFC000"/>
                </a:solidFill>
              </a:rPr>
              <a:t>以完成任务为宗旨</a:t>
            </a:r>
            <a:endParaRPr lang="en-US" altLang="zh-CN" b="1" i="1">
              <a:solidFill>
                <a:srgbClr val="FFC000"/>
              </a:solidFill>
            </a:endParaRPr>
          </a:p>
        </p:txBody>
      </p:sp>
      <p:sp>
        <p:nvSpPr>
          <p:cNvPr id="4" name="矩形 3"/>
          <p:cNvSpPr/>
          <p:nvPr/>
        </p:nvSpPr>
        <p:spPr>
          <a:xfrm>
            <a:off x="406400" y="5795963"/>
            <a:ext cx="10377214" cy="430883"/>
          </a:xfrm>
          <a:prstGeom prst="rect">
            <a:avLst/>
          </a:prstGeom>
        </p:spPr>
        <p:txBody>
          <a:bodyPr wrap="square" lIns="121917" tIns="60958" rIns="121917" bIns="60958">
            <a:spAutoFit/>
          </a:bodyPr>
          <a:lstStyle/>
          <a:p>
            <a:pPr fontAlgn="auto">
              <a:spcBef>
                <a:spcPct val="50000"/>
              </a:spcBef>
              <a:spcAft>
                <a:spcPts val="0"/>
              </a:spcAft>
              <a:buClr>
                <a:srgbClr val="990000"/>
              </a:buClr>
              <a:buFontTx/>
              <a:buNone/>
              <a:defRPr/>
            </a:pPr>
            <a:r>
              <a:rPr lang="zh-CN" altLang="en-US" sz="2000" b="1" i="1" u="sng" noProof="1" smtClean="0">
                <a:solidFill>
                  <a:srgbClr val="0000FF"/>
                </a:solidFill>
                <a:cs typeface="+mn-ea"/>
              </a:rPr>
              <a:t>薛大龙博士观点</a:t>
            </a:r>
            <a:r>
              <a:rPr lang="zh-CN" altLang="en-US" sz="2000" b="1" i="1" u="sng" noProof="1">
                <a:solidFill>
                  <a:srgbClr val="0000FF"/>
                </a:solidFill>
                <a:cs typeface="+mn-ea"/>
              </a:rPr>
              <a:t>：</a:t>
            </a:r>
            <a:r>
              <a:rPr lang="zh-CN" altLang="en-US" sz="2000" b="1" i="1" dirty="0">
                <a:solidFill>
                  <a:srgbClr val="990000"/>
                </a:solidFill>
                <a:latin typeface="+mj-ea"/>
                <a:ea typeface="+mj-ea"/>
              </a:rPr>
              <a:t>我们应该把参与每一个项目看成获得的一个机会，而不仅是一项工作！</a:t>
            </a:r>
            <a:r>
              <a:rPr lang="zh-CN" altLang="en-US" sz="2000" b="1" i="1" dirty="0">
                <a:solidFill>
                  <a:srgbClr val="990000"/>
                </a:solidFill>
                <a:latin typeface="+mj-ea"/>
                <a:ea typeface="+mj-ea"/>
                <a:sym typeface="Times New Roman" panose="02020603050405020304" pitchFamily="18" charset="0"/>
              </a:rPr>
              <a:t> </a:t>
            </a:r>
            <a:endParaRPr lang="zh-CN" altLang="en-US" sz="2000" b="1" i="1" dirty="0">
              <a:latin typeface="+mj-ea"/>
              <a:ea typeface="+mj-ea"/>
            </a:endParaRPr>
          </a:p>
        </p:txBody>
      </p:sp>
      <p:sp>
        <p:nvSpPr>
          <p:cNvPr id="2" name="五角星 1"/>
          <p:cNvSpPr/>
          <p:nvPr/>
        </p:nvSpPr>
        <p:spPr>
          <a:xfrm>
            <a:off x="7204075" y="795338"/>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7" name="五角星 6"/>
          <p:cNvSpPr/>
          <p:nvPr/>
        </p:nvSpPr>
        <p:spPr>
          <a:xfrm>
            <a:off x="7453313" y="795338"/>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0" name="五角星 9"/>
          <p:cNvSpPr/>
          <p:nvPr/>
        </p:nvSpPr>
        <p:spPr>
          <a:xfrm>
            <a:off x="7710488" y="79216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1" name="五角星 10"/>
          <p:cNvSpPr/>
          <p:nvPr/>
        </p:nvSpPr>
        <p:spPr>
          <a:xfrm>
            <a:off x="7950200" y="795338"/>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2" name="五角星 11"/>
          <p:cNvSpPr/>
          <p:nvPr/>
        </p:nvSpPr>
        <p:spPr>
          <a:xfrm>
            <a:off x="8196263" y="795338"/>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3" name="五角星 12"/>
          <p:cNvSpPr/>
          <p:nvPr/>
        </p:nvSpPr>
        <p:spPr>
          <a:xfrm>
            <a:off x="6697663" y="800100"/>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4" name="五角星 13"/>
          <p:cNvSpPr/>
          <p:nvPr/>
        </p:nvSpPr>
        <p:spPr>
          <a:xfrm>
            <a:off x="6943725" y="800100"/>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2"/>
          <p:cNvSpPr>
            <a:spLocks noGrp="1" noChangeArrowheads="1"/>
          </p:cNvSpPr>
          <p:nvPr>
            <p:ph type="title"/>
          </p:nvPr>
        </p:nvSpPr>
        <p:spPr>
          <a:xfrm>
            <a:off x="511175" y="503238"/>
            <a:ext cx="8940800" cy="563562"/>
          </a:xfrm>
        </p:spPr>
        <p:txBody>
          <a:bodyPr/>
          <a:lstStyle/>
          <a:p>
            <a:pPr eaLnBrk="1" hangingPunct="1"/>
            <a:r>
              <a:rPr altLang="zh-CN" smtClean="0"/>
              <a:t>战略、项目组合、项目集、项目和运营</a:t>
            </a:r>
          </a:p>
        </p:txBody>
      </p:sp>
      <p:sp>
        <p:nvSpPr>
          <p:cNvPr id="3" name="五角星 2"/>
          <p:cNvSpPr/>
          <p:nvPr/>
        </p:nvSpPr>
        <p:spPr>
          <a:xfrm>
            <a:off x="7146925" y="62071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7" name="五角星 6"/>
          <p:cNvSpPr/>
          <p:nvPr/>
        </p:nvSpPr>
        <p:spPr>
          <a:xfrm>
            <a:off x="7396163" y="62071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0" name="五角星 9"/>
          <p:cNvSpPr/>
          <p:nvPr/>
        </p:nvSpPr>
        <p:spPr>
          <a:xfrm>
            <a:off x="7653338" y="617538"/>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1" name="五角星 10"/>
          <p:cNvSpPr/>
          <p:nvPr/>
        </p:nvSpPr>
        <p:spPr>
          <a:xfrm>
            <a:off x="7866063" y="62071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2" name="五角星 11"/>
          <p:cNvSpPr/>
          <p:nvPr/>
        </p:nvSpPr>
        <p:spPr>
          <a:xfrm>
            <a:off x="8112125" y="62071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3" name="五角星 12"/>
          <p:cNvSpPr/>
          <p:nvPr/>
        </p:nvSpPr>
        <p:spPr>
          <a:xfrm>
            <a:off x="6691313" y="625475"/>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4" name="五角星 13"/>
          <p:cNvSpPr/>
          <p:nvPr/>
        </p:nvSpPr>
        <p:spPr>
          <a:xfrm>
            <a:off x="6937375" y="625475"/>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graphicFrame>
        <p:nvGraphicFramePr>
          <p:cNvPr id="4" name="表格 3"/>
          <p:cNvGraphicFramePr/>
          <p:nvPr/>
        </p:nvGraphicFramePr>
        <p:xfrm>
          <a:off x="627063" y="1555750"/>
          <a:ext cx="8334375" cy="4303112"/>
        </p:xfrm>
        <a:graphic>
          <a:graphicData uri="http://schemas.openxmlformats.org/drawingml/2006/table">
            <a:tbl>
              <a:tblPr firstRow="1" bandRow="1">
                <a:tableStyleId>{5940675A-B579-460E-94D1-54222C63F5DA}</a:tableStyleId>
              </a:tblPr>
              <a:tblGrid>
                <a:gridCol w="952500"/>
                <a:gridCol w="1439545"/>
                <a:gridCol w="1373505"/>
                <a:gridCol w="1404620"/>
                <a:gridCol w="1473835"/>
                <a:gridCol w="1690370"/>
              </a:tblGrid>
              <a:tr h="486881">
                <a:tc>
                  <a:txBody>
                    <a:bodyPr/>
                    <a:lstStyle/>
                    <a:p>
                      <a:pPr indent="0">
                        <a:lnSpc>
                          <a:spcPct val="120000"/>
                        </a:lnSpc>
                        <a:buNone/>
                      </a:pPr>
                      <a:endParaRPr lang="en-US" altLang="en-US" sz="1600" b="0" dirty="0">
                        <a:solidFill>
                          <a:srgbClr val="000000"/>
                        </a:solidFill>
                        <a:latin typeface="+mn-ea"/>
                        <a:cs typeface="Courier New" panose="02070309020205020404" charset="0"/>
                      </a:endParaRPr>
                    </a:p>
                  </a:txBody>
                  <a:tcPr marL="68580" marR="68580" marT="0" marB="0">
                    <a:lnL>
                      <a:noFill/>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BDBE7"/>
                    </a:solidFill>
                  </a:tcPr>
                </a:tc>
                <a:tc>
                  <a:txBody>
                    <a:bodyPr/>
                    <a:lstStyle/>
                    <a:p>
                      <a:pPr indent="0" algn="ctr">
                        <a:lnSpc>
                          <a:spcPct val="120000"/>
                        </a:lnSpc>
                        <a:buNone/>
                      </a:pPr>
                      <a:r>
                        <a:rPr lang="en-US" sz="1600" b="1" dirty="0" err="1">
                          <a:solidFill>
                            <a:schemeClr val="bg1"/>
                          </a:solidFill>
                          <a:latin typeface="+mn-ea"/>
                          <a:cs typeface="MingLiU" panose="02020509000000000000" charset="-120"/>
                        </a:rPr>
                        <a:t>战略管理</a:t>
                      </a:r>
                      <a:endParaRPr lang="en-US" altLang="en-US" sz="1600" b="1" dirty="0">
                        <a:solidFill>
                          <a:schemeClr val="bg1"/>
                        </a:solidFill>
                        <a:latin typeface="+mn-ea"/>
                        <a:cs typeface="MingLiU" panose="02020509000000000000" charset="-120"/>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00B050"/>
                    </a:solidFill>
                  </a:tcPr>
                </a:tc>
                <a:tc>
                  <a:txBody>
                    <a:bodyPr/>
                    <a:lstStyle/>
                    <a:p>
                      <a:pPr indent="0" algn="ctr">
                        <a:lnSpc>
                          <a:spcPct val="120000"/>
                        </a:lnSpc>
                        <a:buNone/>
                      </a:pPr>
                      <a:r>
                        <a:rPr lang="en-US" sz="1600" b="1">
                          <a:solidFill>
                            <a:schemeClr val="bg1"/>
                          </a:solidFill>
                          <a:latin typeface="+mn-ea"/>
                          <a:cs typeface="MingLiU" panose="02020509000000000000" charset="-120"/>
                        </a:rPr>
                        <a:t>项目组合管理</a:t>
                      </a:r>
                      <a:endParaRPr lang="en-US" altLang="en-US" sz="1600" b="1">
                        <a:solidFill>
                          <a:schemeClr val="bg1"/>
                        </a:solidFill>
                        <a:latin typeface="+mn-ea"/>
                        <a:cs typeface="MingLiU" panose="02020509000000000000" charset="-120"/>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chemeClr val="accent2"/>
                    </a:solidFill>
                  </a:tcPr>
                </a:tc>
                <a:tc>
                  <a:txBody>
                    <a:bodyPr/>
                    <a:lstStyle/>
                    <a:p>
                      <a:pPr indent="0" algn="ctr">
                        <a:lnSpc>
                          <a:spcPct val="120000"/>
                        </a:lnSpc>
                        <a:buNone/>
                      </a:pPr>
                      <a:r>
                        <a:rPr lang="en-US" sz="1600" b="1">
                          <a:solidFill>
                            <a:schemeClr val="bg1"/>
                          </a:solidFill>
                          <a:latin typeface="+mn-ea"/>
                          <a:cs typeface="MingLiU" panose="02020509000000000000" charset="-120"/>
                        </a:rPr>
                        <a:t>项目集管理</a:t>
                      </a:r>
                      <a:endParaRPr lang="en-US" altLang="en-US" sz="1600" b="1">
                        <a:solidFill>
                          <a:schemeClr val="bg1"/>
                        </a:solidFill>
                        <a:latin typeface="+mn-ea"/>
                        <a:cs typeface="MingLiU" panose="02020509000000000000" charset="-120"/>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00B0F0"/>
                    </a:solidFill>
                  </a:tcPr>
                </a:tc>
                <a:tc>
                  <a:txBody>
                    <a:bodyPr/>
                    <a:lstStyle/>
                    <a:p>
                      <a:pPr indent="0" algn="ctr">
                        <a:lnSpc>
                          <a:spcPct val="120000"/>
                        </a:lnSpc>
                        <a:buNone/>
                      </a:pPr>
                      <a:r>
                        <a:rPr lang="en-US" sz="1600" b="1">
                          <a:solidFill>
                            <a:schemeClr val="bg1"/>
                          </a:solidFill>
                          <a:latin typeface="+mn-ea"/>
                          <a:cs typeface="MingLiU" panose="02020509000000000000" charset="-120"/>
                        </a:rPr>
                        <a:t>项目管理</a:t>
                      </a:r>
                      <a:endParaRPr lang="en-US" altLang="en-US" sz="1600" b="1">
                        <a:solidFill>
                          <a:schemeClr val="bg1"/>
                        </a:solidFill>
                        <a:latin typeface="+mn-ea"/>
                        <a:cs typeface="MingLiU" panose="02020509000000000000" charset="-120"/>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C000"/>
                    </a:solidFill>
                  </a:tcPr>
                </a:tc>
                <a:tc>
                  <a:txBody>
                    <a:bodyPr/>
                    <a:lstStyle/>
                    <a:p>
                      <a:pPr indent="0" algn="ctr">
                        <a:lnSpc>
                          <a:spcPct val="120000"/>
                        </a:lnSpc>
                        <a:buNone/>
                      </a:pPr>
                      <a:r>
                        <a:rPr lang="en-US" sz="1600" b="1">
                          <a:solidFill>
                            <a:schemeClr val="bg1"/>
                          </a:solidFill>
                          <a:latin typeface="+mn-ea"/>
                          <a:cs typeface="MingLiU" panose="02020509000000000000" charset="-120"/>
                        </a:rPr>
                        <a:t>运营管理</a:t>
                      </a:r>
                      <a:endParaRPr lang="en-US" altLang="en-US" sz="1600" b="1">
                        <a:solidFill>
                          <a:schemeClr val="bg1"/>
                        </a:solidFill>
                        <a:latin typeface="+mn-ea"/>
                        <a:cs typeface="MingLiU" panose="02020509000000000000" charset="-120"/>
                      </a:endParaRPr>
                    </a:p>
                  </a:txBody>
                  <a:tcPr marL="68580" marR="68580" marT="0" marB="0" anchor="ctr">
                    <a:lnL w="12700" cap="flat" cmpd="sng">
                      <a:solidFill>
                        <a:srgbClr val="080000"/>
                      </a:solidFill>
                      <a:prstDash val="solid"/>
                      <a:headEnd type="none" w="med" len="med"/>
                      <a:tailEnd type="none" w="med" len="med"/>
                    </a:lnL>
                    <a:lnR cap="flat">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7030A0"/>
                    </a:solidFill>
                  </a:tcPr>
                </a:tc>
              </a:tr>
              <a:tr h="1168516">
                <a:tc>
                  <a:txBody>
                    <a:bodyPr/>
                    <a:lstStyle/>
                    <a:p>
                      <a:pPr indent="0" algn="ctr">
                        <a:lnSpc>
                          <a:spcPct val="120000"/>
                        </a:lnSpc>
                        <a:buNone/>
                      </a:pPr>
                      <a:r>
                        <a:rPr lang="en-US" sz="1600" b="1">
                          <a:solidFill>
                            <a:srgbClr val="002060"/>
                          </a:solidFill>
                          <a:latin typeface="+mn-ea"/>
                          <a:cs typeface="MingLiU" panose="02020509000000000000" charset="-120"/>
                        </a:rPr>
                        <a:t>工作内容</a:t>
                      </a:r>
                      <a:endParaRPr lang="en-US" altLang="en-US" sz="1600" b="1">
                        <a:solidFill>
                          <a:srgbClr val="002060"/>
                        </a:solidFill>
                        <a:latin typeface="+mn-ea"/>
                        <a:cs typeface="MingLiU" panose="02020509000000000000" charset="-120"/>
                      </a:endParaRPr>
                    </a:p>
                  </a:txBody>
                  <a:tcPr marL="68580" marR="68580" marT="0" marB="0" anchor="ctr">
                    <a:lnL>
                      <a:noFill/>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lnSpc>
                          <a:spcPct val="120000"/>
                        </a:lnSpc>
                        <a:buNone/>
                      </a:pPr>
                      <a:r>
                        <a:rPr lang="en-US" sz="1600" b="0" dirty="0" err="1">
                          <a:solidFill>
                            <a:srgbClr val="002060"/>
                          </a:solidFill>
                          <a:latin typeface="+mn-ea"/>
                          <a:cs typeface="+mn-ea"/>
                        </a:rPr>
                        <a:t>明确组织的战略目标</a:t>
                      </a:r>
                      <a:endParaRPr lang="en-US" altLang="en-US" sz="1600" b="0" dirty="0">
                        <a:solidFill>
                          <a:srgbClr val="002060"/>
                        </a:solidFill>
                        <a:latin typeface="+mn-ea"/>
                        <a:cs typeface="+mn-ea"/>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lnSpc>
                          <a:spcPct val="120000"/>
                        </a:lnSpc>
                        <a:buNone/>
                      </a:pPr>
                      <a:r>
                        <a:rPr lang="en-US" sz="1600" b="0" dirty="0" err="1">
                          <a:solidFill>
                            <a:srgbClr val="002060"/>
                          </a:solidFill>
                          <a:latin typeface="+mn-ea"/>
                          <a:cs typeface="+mn-ea"/>
                        </a:rPr>
                        <a:t>选择最有利于</a:t>
                      </a:r>
                      <a:r>
                        <a:rPr lang="en-US" sz="1600" b="0" dirty="0">
                          <a:solidFill>
                            <a:srgbClr val="002060"/>
                          </a:solidFill>
                          <a:latin typeface="+mn-ea"/>
                          <a:cs typeface="+mn-ea"/>
                        </a:rPr>
                        <a:t> </a:t>
                      </a:r>
                      <a:r>
                        <a:rPr lang="en-US" sz="1600" b="0" dirty="0" err="1">
                          <a:solidFill>
                            <a:srgbClr val="002060"/>
                          </a:solidFill>
                          <a:latin typeface="+mn-ea"/>
                          <a:cs typeface="+mn-ea"/>
                        </a:rPr>
                        <a:t>实现战略目标的一些项目</a:t>
                      </a:r>
                      <a:endParaRPr lang="en-US" altLang="en-US" sz="1600" b="0" dirty="0">
                        <a:solidFill>
                          <a:srgbClr val="002060"/>
                        </a:solidFill>
                        <a:latin typeface="+mn-ea"/>
                        <a:cs typeface="+mn-ea"/>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lnSpc>
                          <a:spcPct val="120000"/>
                        </a:lnSpc>
                        <a:buNone/>
                      </a:pPr>
                      <a:r>
                        <a:rPr lang="en-US" sz="1600" b="0" dirty="0" err="1">
                          <a:solidFill>
                            <a:srgbClr val="002060"/>
                          </a:solidFill>
                          <a:latin typeface="+mn-ea"/>
                          <a:cs typeface="+mn-ea"/>
                        </a:rPr>
                        <a:t>分析并利用各项目之间的有机联系</a:t>
                      </a:r>
                      <a:endParaRPr lang="en-US" altLang="en-US" sz="1600" b="0" dirty="0">
                        <a:solidFill>
                          <a:srgbClr val="002060"/>
                        </a:solidFill>
                        <a:latin typeface="+mn-ea"/>
                        <a:cs typeface="+mn-ea"/>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lnSpc>
                          <a:spcPct val="120000"/>
                        </a:lnSpc>
                        <a:buNone/>
                      </a:pPr>
                      <a:r>
                        <a:rPr lang="en-US" sz="1600" b="0">
                          <a:solidFill>
                            <a:srgbClr val="002060"/>
                          </a:solidFill>
                          <a:latin typeface="+mn-ea"/>
                          <a:cs typeface="+mn-ea"/>
                        </a:rPr>
                        <a:t>规范有序地开展单个项目</a:t>
                      </a:r>
                      <a:endParaRPr lang="en-US" altLang="en-US" sz="1600" b="0">
                        <a:solidFill>
                          <a:srgbClr val="002060"/>
                        </a:solidFill>
                        <a:latin typeface="+mn-ea"/>
                        <a:cs typeface="+mn-ea"/>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lnSpc>
                          <a:spcPct val="120000"/>
                        </a:lnSpc>
                        <a:buNone/>
                      </a:pPr>
                      <a:r>
                        <a:rPr lang="en-US" sz="1600" b="0">
                          <a:solidFill>
                            <a:srgbClr val="002060"/>
                          </a:solidFill>
                          <a:latin typeface="+mn-ea"/>
                          <a:cs typeface="+mn-ea"/>
                        </a:rPr>
                        <a:t>持续且有效地使 用项目或项目集所形成的生产或服务能力</a:t>
                      </a:r>
                      <a:endParaRPr lang="en-US" altLang="en-US" sz="1600" b="0">
                        <a:solidFill>
                          <a:srgbClr val="002060"/>
                        </a:solidFill>
                        <a:latin typeface="+mn-ea"/>
                        <a:cs typeface="+mn-ea"/>
                      </a:endParaRPr>
                    </a:p>
                  </a:txBody>
                  <a:tcPr marL="68580" marR="68580" marT="0" marB="0">
                    <a:lnL w="12700" cap="flat" cmpd="sng">
                      <a:solidFill>
                        <a:srgbClr val="080000"/>
                      </a:solidFill>
                      <a:prstDash val="solid"/>
                      <a:headEnd type="none" w="med" len="med"/>
                      <a:tailEnd type="none" w="med" len="med"/>
                    </a:lnL>
                    <a:lnR cap="flat">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r>
              <a:tr h="1168516">
                <a:tc>
                  <a:txBody>
                    <a:bodyPr/>
                    <a:lstStyle/>
                    <a:p>
                      <a:pPr indent="0" algn="ctr">
                        <a:lnSpc>
                          <a:spcPct val="120000"/>
                        </a:lnSpc>
                        <a:buNone/>
                      </a:pPr>
                      <a:r>
                        <a:rPr lang="en-US" sz="1600" b="1">
                          <a:solidFill>
                            <a:srgbClr val="002060"/>
                          </a:solidFill>
                          <a:latin typeface="+mn-ea"/>
                          <a:cs typeface="MingLiU" panose="02020509000000000000" charset="-120"/>
                        </a:rPr>
                        <a:t>目的</a:t>
                      </a:r>
                      <a:endParaRPr lang="en-US" altLang="en-US" sz="1600" b="1">
                        <a:solidFill>
                          <a:srgbClr val="002060"/>
                        </a:solidFill>
                        <a:latin typeface="+mn-ea"/>
                        <a:cs typeface="MingLiU" panose="02020509000000000000" charset="-120"/>
                      </a:endParaRPr>
                    </a:p>
                  </a:txBody>
                  <a:tcPr marL="68580" marR="68580" marT="0" marB="0" anchor="ctr">
                    <a:lnL>
                      <a:noFill/>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lnSpc>
                          <a:spcPct val="120000"/>
                        </a:lnSpc>
                        <a:buNone/>
                      </a:pPr>
                      <a:r>
                        <a:rPr lang="en-US" sz="1600" b="0">
                          <a:solidFill>
                            <a:srgbClr val="002060"/>
                          </a:solidFill>
                          <a:latin typeface="+mn-ea"/>
                          <a:cs typeface="+mn-ea"/>
                        </a:rPr>
                        <a:t>确保组织的方向正确</a:t>
                      </a:r>
                      <a:endParaRPr lang="en-US" altLang="en-US" sz="1600" b="0">
                        <a:solidFill>
                          <a:srgbClr val="002060"/>
                        </a:solidFill>
                        <a:latin typeface="+mn-ea"/>
                        <a:cs typeface="+mn-ea"/>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lnSpc>
                          <a:spcPct val="120000"/>
                        </a:lnSpc>
                        <a:buNone/>
                      </a:pPr>
                      <a:r>
                        <a:rPr lang="en-US" sz="1600" b="0" dirty="0" err="1">
                          <a:solidFill>
                            <a:srgbClr val="002060"/>
                          </a:solidFill>
                          <a:latin typeface="+mn-ea"/>
                          <a:cs typeface="+mn-ea"/>
                        </a:rPr>
                        <a:t>确保做一系列正确的项目</a:t>
                      </a:r>
                      <a:endParaRPr lang="en-US" altLang="en-US" sz="1600" b="0" dirty="0">
                        <a:solidFill>
                          <a:srgbClr val="002060"/>
                        </a:solidFill>
                        <a:latin typeface="+mn-ea"/>
                        <a:cs typeface="+mn-ea"/>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lnSpc>
                          <a:spcPct val="120000"/>
                        </a:lnSpc>
                        <a:buNone/>
                      </a:pPr>
                      <a:r>
                        <a:rPr lang="en-US" sz="1600" b="0" dirty="0" err="1">
                          <a:solidFill>
                            <a:srgbClr val="002060"/>
                          </a:solidFill>
                          <a:latin typeface="+mn-ea"/>
                          <a:cs typeface="+mn-ea"/>
                        </a:rPr>
                        <a:t>确保获得比单个项目效益之和更大的</a:t>
                      </a:r>
                      <a:r>
                        <a:rPr lang="zh-CN" altLang="en-US" sz="1600" b="0" dirty="0" err="1">
                          <a:solidFill>
                            <a:srgbClr val="002060"/>
                          </a:solidFill>
                          <a:latin typeface="+mn-ea"/>
                          <a:cs typeface="+mn-ea"/>
                        </a:rPr>
                        <a:t>效益</a:t>
                      </a: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lnSpc>
                          <a:spcPct val="120000"/>
                        </a:lnSpc>
                        <a:buNone/>
                      </a:pPr>
                      <a:r>
                        <a:rPr lang="en-US" sz="1600" b="0" dirty="0" err="1">
                          <a:solidFill>
                            <a:srgbClr val="002060"/>
                          </a:solidFill>
                          <a:latin typeface="+mn-ea"/>
                          <a:cs typeface="+mn-ea"/>
                        </a:rPr>
                        <a:t>确保做出符合范</a:t>
                      </a:r>
                      <a:r>
                        <a:rPr lang="en-US" sz="1600" b="0" dirty="0">
                          <a:solidFill>
                            <a:srgbClr val="002060"/>
                          </a:solidFill>
                          <a:latin typeface="+mn-ea"/>
                          <a:cs typeface="+mn-ea"/>
                        </a:rPr>
                        <a:t> </a:t>
                      </a:r>
                      <a:r>
                        <a:rPr lang="en-US" sz="1600" b="0" dirty="0" err="1">
                          <a:solidFill>
                            <a:srgbClr val="002060"/>
                          </a:solidFill>
                          <a:latin typeface="+mn-ea"/>
                          <a:cs typeface="+mn-ea"/>
                        </a:rPr>
                        <a:t>围、进度、成本和质量要求的项目成果</a:t>
                      </a:r>
                      <a:endParaRPr lang="en-US" altLang="en-US" sz="1600" b="0" dirty="0">
                        <a:solidFill>
                          <a:srgbClr val="002060"/>
                        </a:solidFill>
                        <a:latin typeface="+mn-ea"/>
                        <a:cs typeface="+mn-ea"/>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lnSpc>
                          <a:spcPct val="120000"/>
                        </a:lnSpc>
                        <a:buNone/>
                      </a:pPr>
                      <a:r>
                        <a:rPr lang="en-US" sz="1600" b="0">
                          <a:solidFill>
                            <a:srgbClr val="002060"/>
                          </a:solidFill>
                          <a:latin typeface="+mn-ea"/>
                          <a:cs typeface="+mn-ea"/>
                        </a:rPr>
                        <a:t>确保实现商业价 值和战略目标</a:t>
                      </a:r>
                      <a:endParaRPr lang="en-US" altLang="en-US" sz="1600" b="0">
                        <a:solidFill>
                          <a:srgbClr val="002060"/>
                        </a:solidFill>
                        <a:latin typeface="+mn-ea"/>
                        <a:cs typeface="+mn-ea"/>
                      </a:endParaRPr>
                    </a:p>
                  </a:txBody>
                  <a:tcPr marL="68580" marR="68580" marT="0" marB="0">
                    <a:lnL w="12700" cap="flat" cmpd="sng">
                      <a:solidFill>
                        <a:srgbClr val="080000"/>
                      </a:solidFill>
                      <a:prstDash val="solid"/>
                      <a:headEnd type="none" w="med" len="med"/>
                      <a:tailEnd type="none" w="med" len="med"/>
                    </a:lnL>
                    <a:lnR cap="flat">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r>
              <a:tr h="304935">
                <a:tc>
                  <a:txBody>
                    <a:bodyPr/>
                    <a:lstStyle/>
                    <a:p>
                      <a:pPr indent="0" algn="ctr">
                        <a:lnSpc>
                          <a:spcPct val="120000"/>
                        </a:lnSpc>
                        <a:buNone/>
                      </a:pPr>
                      <a:r>
                        <a:rPr lang="en-US" sz="1600" b="1">
                          <a:solidFill>
                            <a:srgbClr val="002060"/>
                          </a:solidFill>
                          <a:latin typeface="+mn-ea"/>
                          <a:cs typeface="MingLiU" panose="02020509000000000000" charset="-120"/>
                        </a:rPr>
                        <a:t>负责人</a:t>
                      </a:r>
                      <a:endParaRPr lang="en-US" altLang="en-US" sz="1600" b="1">
                        <a:solidFill>
                          <a:srgbClr val="002060"/>
                        </a:solidFill>
                        <a:latin typeface="+mn-ea"/>
                        <a:cs typeface="MingLiU" panose="02020509000000000000" charset="-120"/>
                      </a:endParaRPr>
                    </a:p>
                  </a:txBody>
                  <a:tcPr marL="68580" marR="68580" marT="0" marB="0" anchor="ctr">
                    <a:lnL>
                      <a:noFill/>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lnSpc>
                          <a:spcPct val="120000"/>
                        </a:lnSpc>
                        <a:buNone/>
                      </a:pPr>
                      <a:r>
                        <a:rPr lang="en-US" sz="1600" b="0">
                          <a:solidFill>
                            <a:srgbClr val="002060"/>
                          </a:solidFill>
                          <a:latin typeface="+mn-ea"/>
                          <a:cs typeface="MingLiU" panose="02020509000000000000" charset="-120"/>
                        </a:rPr>
                        <a:t>董事长</a:t>
                      </a:r>
                      <a:endParaRPr lang="en-US" altLang="en-US" sz="1600" b="0">
                        <a:solidFill>
                          <a:srgbClr val="002060"/>
                        </a:solidFill>
                        <a:latin typeface="+mn-ea"/>
                        <a:cs typeface="MingLiU" panose="02020509000000000000" charset="-12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lnSpc>
                          <a:spcPct val="120000"/>
                        </a:lnSpc>
                        <a:buNone/>
                      </a:pPr>
                      <a:r>
                        <a:rPr lang="en-US" sz="1600" b="0">
                          <a:solidFill>
                            <a:srgbClr val="002060"/>
                          </a:solidFill>
                          <a:latin typeface="+mn-ea"/>
                          <a:cs typeface="MingLiU" panose="02020509000000000000" charset="-120"/>
                        </a:rPr>
                        <a:t>总经理</a:t>
                      </a:r>
                      <a:endParaRPr lang="en-US" altLang="en-US" sz="1600" b="0">
                        <a:solidFill>
                          <a:srgbClr val="002060"/>
                        </a:solidFill>
                        <a:latin typeface="+mn-ea"/>
                        <a:cs typeface="MingLiU" panose="02020509000000000000" charset="-12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lnSpc>
                          <a:spcPct val="120000"/>
                        </a:lnSpc>
                        <a:buNone/>
                      </a:pPr>
                      <a:r>
                        <a:rPr lang="en-US" sz="1600" b="0" dirty="0" err="1">
                          <a:solidFill>
                            <a:srgbClr val="002060"/>
                          </a:solidFill>
                          <a:latin typeface="+mn-ea"/>
                          <a:cs typeface="MingLiU" panose="02020509000000000000" charset="-120"/>
                        </a:rPr>
                        <a:t>项目集经理</a:t>
                      </a:r>
                      <a:endParaRPr lang="en-US" altLang="en-US" sz="1600" b="0" dirty="0">
                        <a:solidFill>
                          <a:srgbClr val="002060"/>
                        </a:solidFill>
                        <a:latin typeface="+mn-ea"/>
                        <a:cs typeface="MingLiU" panose="02020509000000000000" charset="-12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lnSpc>
                          <a:spcPct val="120000"/>
                        </a:lnSpc>
                        <a:buNone/>
                      </a:pPr>
                      <a:r>
                        <a:rPr lang="en-US" sz="1600" b="0" dirty="0" err="1">
                          <a:solidFill>
                            <a:srgbClr val="002060"/>
                          </a:solidFill>
                          <a:latin typeface="+mn-ea"/>
                          <a:cs typeface="MingLiU" panose="02020509000000000000" charset="-120"/>
                        </a:rPr>
                        <a:t>项目经理</a:t>
                      </a:r>
                      <a:endParaRPr lang="en-US" altLang="en-US" sz="1600" b="0" dirty="0">
                        <a:solidFill>
                          <a:srgbClr val="002060"/>
                        </a:solidFill>
                        <a:latin typeface="+mn-ea"/>
                        <a:cs typeface="MingLiU" panose="02020509000000000000" charset="-12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lnSpc>
                          <a:spcPct val="120000"/>
                        </a:lnSpc>
                        <a:buNone/>
                      </a:pPr>
                      <a:r>
                        <a:rPr lang="en-US" sz="1600" b="0">
                          <a:solidFill>
                            <a:srgbClr val="002060"/>
                          </a:solidFill>
                          <a:latin typeface="+mn-ea"/>
                          <a:cs typeface="MingLiU" panose="02020509000000000000" charset="-120"/>
                        </a:rPr>
                        <a:t>职能经理</a:t>
                      </a:r>
                      <a:endParaRPr lang="en-US" altLang="en-US" sz="1600" b="0">
                        <a:solidFill>
                          <a:srgbClr val="002060"/>
                        </a:solidFill>
                        <a:latin typeface="+mn-ea"/>
                        <a:cs typeface="MingLiU" panose="02020509000000000000" charset="-120"/>
                      </a:endParaRPr>
                    </a:p>
                  </a:txBody>
                  <a:tcPr marL="68580" marR="68580" marT="0" marB="0">
                    <a:lnL w="12700" cap="flat" cmpd="sng">
                      <a:solidFill>
                        <a:srgbClr val="080000"/>
                      </a:solidFill>
                      <a:prstDash val="solid"/>
                      <a:headEnd type="none" w="med" len="med"/>
                      <a:tailEnd type="none" w="med" len="med"/>
                    </a:lnL>
                    <a:lnR cap="flat">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r>
              <a:tr h="1168516">
                <a:tc>
                  <a:txBody>
                    <a:bodyPr/>
                    <a:lstStyle/>
                    <a:p>
                      <a:pPr indent="0" algn="ctr">
                        <a:lnSpc>
                          <a:spcPct val="120000"/>
                        </a:lnSpc>
                        <a:buNone/>
                      </a:pPr>
                      <a:r>
                        <a:rPr lang="en-US" sz="1600" b="1">
                          <a:solidFill>
                            <a:srgbClr val="002060"/>
                          </a:solidFill>
                          <a:latin typeface="+mn-ea"/>
                          <a:cs typeface="MingLiU" panose="02020509000000000000" charset="-120"/>
                        </a:rPr>
                        <a:t>变更</a:t>
                      </a:r>
                      <a:endParaRPr lang="en-US" altLang="en-US" sz="1600" b="1">
                        <a:solidFill>
                          <a:srgbClr val="002060"/>
                        </a:solidFill>
                        <a:latin typeface="+mn-ea"/>
                        <a:cs typeface="MingLiU" panose="02020509000000000000" charset="-120"/>
                      </a:endParaRPr>
                    </a:p>
                  </a:txBody>
                  <a:tcPr marL="68580" marR="68580" marT="0" marB="0" anchor="ctr">
                    <a:lnL>
                      <a:noFill/>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lnSpc>
                          <a:spcPct val="120000"/>
                        </a:lnSpc>
                        <a:buNone/>
                      </a:pPr>
                      <a:r>
                        <a:rPr lang="en-US" sz="1600" b="0">
                          <a:solidFill>
                            <a:srgbClr val="002060"/>
                          </a:solidFill>
                          <a:latin typeface="+mn-ea"/>
                          <a:cs typeface="+mn-ea"/>
                        </a:rPr>
                        <a:t>主动追求变更，调整战略方向和目标</a:t>
                      </a:r>
                      <a:endParaRPr lang="en-US" altLang="en-US" sz="1600" b="0">
                        <a:solidFill>
                          <a:srgbClr val="002060"/>
                        </a:solidFill>
                        <a:latin typeface="+mn-ea"/>
                        <a:cs typeface="+mn-ea"/>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lnSpc>
                          <a:spcPct val="120000"/>
                        </a:lnSpc>
                        <a:buNone/>
                      </a:pPr>
                      <a:r>
                        <a:rPr lang="en-US" sz="1600" b="0">
                          <a:solidFill>
                            <a:srgbClr val="002060"/>
                          </a:solidFill>
                          <a:latin typeface="+mn-ea"/>
                          <a:cs typeface="+mn-ea"/>
                        </a:rPr>
                        <a:t>主动追求变更，调整项目组合的组成部分</a:t>
                      </a:r>
                      <a:endParaRPr lang="en-US" altLang="en-US" sz="1600" b="0">
                        <a:solidFill>
                          <a:srgbClr val="002060"/>
                        </a:solidFill>
                        <a:latin typeface="+mn-ea"/>
                        <a:cs typeface="+mn-ea"/>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lnSpc>
                          <a:spcPct val="120000"/>
                        </a:lnSpc>
                        <a:buNone/>
                      </a:pPr>
                      <a:r>
                        <a:rPr lang="en-US" sz="1600" b="0" dirty="0" err="1">
                          <a:solidFill>
                            <a:srgbClr val="002060"/>
                          </a:solidFill>
                          <a:latin typeface="+mn-ea"/>
                          <a:cs typeface="+mn-ea"/>
                        </a:rPr>
                        <a:t>必要时对项目集内容做变更，以扩大项目集效益</a:t>
                      </a:r>
                      <a:endParaRPr lang="en-US" altLang="en-US" sz="1600" b="0" dirty="0">
                        <a:solidFill>
                          <a:srgbClr val="002060"/>
                        </a:solidFill>
                        <a:latin typeface="+mn-ea"/>
                        <a:cs typeface="+mn-ea"/>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lnSpc>
                          <a:spcPct val="120000"/>
                        </a:lnSpc>
                        <a:buNone/>
                      </a:pPr>
                      <a:r>
                        <a:rPr lang="en-US" sz="1600" b="0" dirty="0" err="1">
                          <a:solidFill>
                            <a:srgbClr val="002060"/>
                          </a:solidFill>
                          <a:latin typeface="+mn-ea"/>
                          <a:cs typeface="+mn-ea"/>
                        </a:rPr>
                        <a:t>为配合项目集而变更，或为实现项目目标而变更</a:t>
                      </a:r>
                      <a:endParaRPr lang="en-US" altLang="en-US" sz="1600" b="0" dirty="0">
                        <a:solidFill>
                          <a:srgbClr val="002060"/>
                        </a:solidFill>
                        <a:latin typeface="+mn-ea"/>
                        <a:cs typeface="+mn-ea"/>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lnSpc>
                          <a:spcPct val="120000"/>
                        </a:lnSpc>
                        <a:buNone/>
                      </a:pPr>
                      <a:r>
                        <a:rPr lang="en-US" sz="1600" b="0" dirty="0" err="1">
                          <a:solidFill>
                            <a:srgbClr val="002060"/>
                          </a:solidFill>
                          <a:latin typeface="+mn-ea"/>
                          <a:cs typeface="+mn-ea"/>
                        </a:rPr>
                        <a:t>按标准化流程开</a:t>
                      </a:r>
                      <a:r>
                        <a:rPr lang="en-US" sz="1600" b="0" dirty="0">
                          <a:solidFill>
                            <a:srgbClr val="002060"/>
                          </a:solidFill>
                          <a:latin typeface="+mn-ea"/>
                          <a:cs typeface="+mn-ea"/>
                        </a:rPr>
                        <a:t> </a:t>
                      </a:r>
                      <a:r>
                        <a:rPr lang="en-US" sz="1600" b="0" dirty="0" err="1">
                          <a:solidFill>
                            <a:srgbClr val="002060"/>
                          </a:solidFill>
                          <a:latin typeface="+mn-ea"/>
                          <a:cs typeface="+mn-ea"/>
                        </a:rPr>
                        <a:t>展生产或服务，无须变更</a:t>
                      </a:r>
                      <a:endParaRPr lang="en-US" altLang="en-US" sz="1600" b="0" dirty="0">
                        <a:solidFill>
                          <a:srgbClr val="002060"/>
                        </a:solidFill>
                        <a:latin typeface="+mn-ea"/>
                        <a:cs typeface="+mn-ea"/>
                      </a:endParaRPr>
                    </a:p>
                  </a:txBody>
                  <a:tcPr marL="68580" marR="68580" marT="0" marB="0">
                    <a:lnL w="12700" cap="flat" cmpd="sng">
                      <a:solidFill>
                        <a:srgbClr val="080000"/>
                      </a:solidFill>
                      <a:prstDash val="solid"/>
                      <a:headEnd type="none" w="med" len="med"/>
                      <a:tailEnd type="none" w="med" len="med"/>
                    </a:lnL>
                    <a:lnR cap="flat">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r>
            </a:tbl>
          </a:graphicData>
        </a:graphic>
      </p:graphicFrame>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Rectangle 2"/>
          <p:cNvSpPr>
            <a:spLocks noGrp="1" noChangeArrowheads="1"/>
          </p:cNvSpPr>
          <p:nvPr>
            <p:ph type="title"/>
          </p:nvPr>
        </p:nvSpPr>
        <p:spPr>
          <a:xfrm>
            <a:off x="619125" y="377825"/>
            <a:ext cx="3530600" cy="1066800"/>
          </a:xfrm>
        </p:spPr>
        <p:txBody>
          <a:bodyPr/>
          <a:lstStyle/>
          <a:p>
            <a:pPr eaLnBrk="1" hangingPunct="1"/>
            <a:r>
              <a:rPr smtClean="0"/>
              <a:t>项目和开发生命周期</a:t>
            </a:r>
          </a:p>
        </p:txBody>
      </p:sp>
      <p:sp>
        <p:nvSpPr>
          <p:cNvPr id="52226" name="文本框 99"/>
          <p:cNvSpPr txBox="1">
            <a:spLocks noChangeArrowheads="1"/>
          </p:cNvSpPr>
          <p:nvPr/>
        </p:nvSpPr>
        <p:spPr bwMode="auto">
          <a:xfrm>
            <a:off x="619125" y="1860550"/>
            <a:ext cx="7861300" cy="363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indent="144463">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120000"/>
              </a:lnSpc>
            </a:pPr>
            <a:r>
              <a:rPr lang="en-US" altLang="zh-CN" sz="2400">
                <a:solidFill>
                  <a:srgbClr val="221E1F"/>
                </a:solidFill>
                <a:latin typeface="微软雅黑" pitchFamily="34" charset="-122"/>
              </a:rPr>
              <a:t>     </a:t>
            </a:r>
            <a:r>
              <a:rPr lang="zh-CN" altLang="en-US" sz="2400">
                <a:solidFill>
                  <a:srgbClr val="221E1F"/>
                </a:solidFill>
                <a:latin typeface="微软雅黑" pitchFamily="34" charset="-122"/>
              </a:rPr>
              <a:t>项目生命周期指项目从启动到完成所经历的一系列阶段。它为项目管理提供了一个基本框架。不论项目涉及的具体工作是什么，这个基本框架都适用。这些阶段之间的关系可以</a:t>
            </a:r>
            <a:r>
              <a:rPr lang="zh-CN" altLang="en-US" sz="2400" b="1" i="1" u="sng">
                <a:solidFill>
                  <a:srgbClr val="C00000"/>
                </a:solidFill>
                <a:latin typeface="微软雅黑" pitchFamily="34" charset="-122"/>
              </a:rPr>
              <a:t>顺序、迭代或交叠</a:t>
            </a:r>
            <a:r>
              <a:rPr lang="zh-CN" altLang="en-US" sz="2400">
                <a:solidFill>
                  <a:srgbClr val="221E1F"/>
                </a:solidFill>
                <a:latin typeface="微软雅黑" pitchFamily="34" charset="-122"/>
              </a:rPr>
              <a:t>进行。</a:t>
            </a:r>
          </a:p>
          <a:p>
            <a:pPr>
              <a:lnSpc>
                <a:spcPct val="120000"/>
              </a:lnSpc>
            </a:pPr>
            <a:r>
              <a:rPr lang="zh-CN" altLang="en-US" sz="2400">
                <a:solidFill>
                  <a:srgbClr val="221E1F"/>
                </a:solidFill>
                <a:latin typeface="微软雅黑" pitchFamily="34" charset="-122"/>
              </a:rPr>
              <a:t>     项目生命周期可以是预测型或适应型。项目生命周期内通常有一个或多个阶段与产品、服务或成果的开发相关，这些阶段称为</a:t>
            </a:r>
            <a:r>
              <a:rPr lang="zh-CN" altLang="en-US" sz="2400" b="1" u="sng">
                <a:solidFill>
                  <a:srgbClr val="C00000"/>
                </a:solidFill>
                <a:latin typeface="微软雅黑" pitchFamily="34" charset="-122"/>
              </a:rPr>
              <a:t>开发生命周期</a:t>
            </a:r>
            <a:r>
              <a:rPr lang="zh-CN" altLang="en-US" sz="2400">
                <a:solidFill>
                  <a:srgbClr val="221E1F"/>
                </a:solidFill>
                <a:latin typeface="微软雅黑" pitchFamily="34" charset="-122"/>
              </a:rPr>
              <a:t>。开发生命周期可以是</a:t>
            </a:r>
            <a:r>
              <a:rPr lang="zh-CN" altLang="en-US" sz="2400" b="1" u="sng">
                <a:solidFill>
                  <a:srgbClr val="C00000"/>
                </a:solidFill>
                <a:latin typeface="微软雅黑" pitchFamily="34" charset="-122"/>
              </a:rPr>
              <a:t>预测型、迭代型、增量型、适应型或混合型</a:t>
            </a:r>
            <a:r>
              <a:rPr lang="zh-CN" altLang="en-US" sz="2400">
                <a:solidFill>
                  <a:srgbClr val="221E1F"/>
                </a:solidFill>
                <a:latin typeface="微软雅黑" pitchFamily="34" charset="-122"/>
              </a:rPr>
              <a:t>的模式： </a:t>
            </a:r>
          </a:p>
        </p:txBody>
      </p:sp>
      <p:sp>
        <p:nvSpPr>
          <p:cNvPr id="2" name="五角星 1"/>
          <p:cNvSpPr/>
          <p:nvPr/>
        </p:nvSpPr>
        <p:spPr>
          <a:xfrm>
            <a:off x="4611688" y="790575"/>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7" name="五角星 6"/>
          <p:cNvSpPr/>
          <p:nvPr/>
        </p:nvSpPr>
        <p:spPr>
          <a:xfrm>
            <a:off x="4860925" y="790575"/>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0" name="五角星 9"/>
          <p:cNvSpPr/>
          <p:nvPr/>
        </p:nvSpPr>
        <p:spPr>
          <a:xfrm>
            <a:off x="5118100" y="787400"/>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1" name="五角星 10"/>
          <p:cNvSpPr/>
          <p:nvPr/>
        </p:nvSpPr>
        <p:spPr>
          <a:xfrm>
            <a:off x="5357813" y="790575"/>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2" name="五角星 11"/>
          <p:cNvSpPr/>
          <p:nvPr/>
        </p:nvSpPr>
        <p:spPr>
          <a:xfrm>
            <a:off x="5570538" y="790575"/>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3" name="五角星 12"/>
          <p:cNvSpPr/>
          <p:nvPr/>
        </p:nvSpPr>
        <p:spPr>
          <a:xfrm>
            <a:off x="4149725" y="795338"/>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4" name="五角星 13"/>
          <p:cNvSpPr/>
          <p:nvPr/>
        </p:nvSpPr>
        <p:spPr>
          <a:xfrm>
            <a:off x="4395788" y="795338"/>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占位符 3"/>
          <p:cNvGraphicFramePr>
            <a:graphicFrameLocks noGrp="1"/>
          </p:cNvGraphicFramePr>
          <p:nvPr>
            <p:ph type="tbl" idx="1"/>
          </p:nvPr>
        </p:nvGraphicFramePr>
        <p:xfrm>
          <a:off x="609600" y="922338"/>
          <a:ext cx="8315325" cy="4892685"/>
        </p:xfrm>
        <a:graphic>
          <a:graphicData uri="http://schemas.openxmlformats.org/drawingml/2006/table">
            <a:tbl>
              <a:tblPr firstRow="1" bandRow="1">
                <a:tableStyleId>{5C22544A-7EE6-4342-B048-85BDC9FD1C3A}</a:tableStyleId>
              </a:tblPr>
              <a:tblGrid>
                <a:gridCol w="1314249"/>
                <a:gridCol w="7001076"/>
              </a:tblGrid>
              <a:tr h="694940">
                <a:tc>
                  <a:txBody>
                    <a:bodyPr/>
                    <a:lstStyle/>
                    <a:p>
                      <a:pPr>
                        <a:lnSpc>
                          <a:spcPct val="110000"/>
                        </a:lnSpc>
                        <a:buNone/>
                      </a:pPr>
                      <a:r>
                        <a:rPr lang="zh-CN" altLang="en-US" sz="1800" b="1" dirty="0">
                          <a:solidFill>
                            <a:srgbClr val="221E1F"/>
                          </a:solidFill>
                          <a:latin typeface="微软雅黑" panose="020B0503020204020204" pitchFamily="34" charset="-122"/>
                          <a:cs typeface="微软雅黑" panose="020B0503020204020204" pitchFamily="34" charset="-122"/>
                          <a:sym typeface="+mn-ea"/>
                        </a:rPr>
                        <a:t>预测型生命周期</a:t>
                      </a:r>
                    </a:p>
                  </a:txBody>
                  <a:tcPr marL="91426" marR="91426">
                    <a:solidFill>
                      <a:schemeClr val="accent5">
                        <a:lumMod val="20000"/>
                        <a:lumOff val="80000"/>
                      </a:schemeClr>
                    </a:solidFill>
                  </a:tcPr>
                </a:tc>
                <a:tc>
                  <a:txBody>
                    <a:bodyPr/>
                    <a:lstStyle/>
                    <a:p>
                      <a:pPr>
                        <a:lnSpc>
                          <a:spcPct val="110000"/>
                        </a:lnSpc>
                        <a:buNone/>
                      </a:pPr>
                      <a:r>
                        <a:rPr lang="zh-CN" altLang="en-US" sz="1800" b="0" dirty="0">
                          <a:solidFill>
                            <a:srgbClr val="221E1F"/>
                          </a:solidFill>
                          <a:latin typeface="微软雅黑" panose="020B0503020204020204" pitchFamily="34" charset="-122"/>
                          <a:cs typeface="微软雅黑" panose="020B0503020204020204" pitchFamily="34" charset="-122"/>
                          <a:sym typeface="+mn-ea"/>
                        </a:rPr>
                        <a:t>在生命周期的早期阶段确定项目范围、时间和成本。对任何范围的变更都要进行仔细管理。预测型生命周期也称为</a:t>
                      </a:r>
                      <a:r>
                        <a:rPr lang="zh-CN" altLang="en-US" sz="1800" b="0" u="sng" dirty="0">
                          <a:solidFill>
                            <a:srgbClr val="221E1F"/>
                          </a:solidFill>
                          <a:latin typeface="微软雅黑" panose="020B0503020204020204" pitchFamily="34" charset="-122"/>
                          <a:cs typeface="微软雅黑" panose="020B0503020204020204" pitchFamily="34" charset="-122"/>
                          <a:sym typeface="+mn-ea"/>
                        </a:rPr>
                        <a:t>瀑布型生命周期</a:t>
                      </a:r>
                      <a:r>
                        <a:rPr lang="zh-CN" altLang="en-US" sz="1800" b="0" dirty="0">
                          <a:solidFill>
                            <a:srgbClr val="221E1F"/>
                          </a:solidFill>
                          <a:latin typeface="微软雅黑" panose="020B0503020204020204" pitchFamily="34" charset="-122"/>
                          <a:cs typeface="微软雅黑" panose="020B0503020204020204" pitchFamily="34" charset="-122"/>
                          <a:sym typeface="+mn-ea"/>
                        </a:rPr>
                        <a:t>。 </a:t>
                      </a:r>
                      <a:endParaRPr lang="zh-CN" altLang="en-US" sz="1800" b="0" dirty="0"/>
                    </a:p>
                  </a:txBody>
                  <a:tcPr marL="91426" marR="91426">
                    <a:solidFill>
                      <a:schemeClr val="accent5">
                        <a:lumMod val="20000"/>
                        <a:lumOff val="80000"/>
                      </a:schemeClr>
                    </a:solidFill>
                  </a:tcPr>
                </a:tc>
              </a:tr>
              <a:tr h="1300469">
                <a:tc>
                  <a:txBody>
                    <a:bodyPr/>
                    <a:lstStyle/>
                    <a:p>
                      <a:pPr>
                        <a:lnSpc>
                          <a:spcPct val="110000"/>
                        </a:lnSpc>
                        <a:buNone/>
                      </a:pPr>
                      <a:r>
                        <a:rPr lang="zh-CN" altLang="en-US" sz="1800" b="1">
                          <a:solidFill>
                            <a:srgbClr val="221E1F"/>
                          </a:solidFill>
                          <a:latin typeface="微软雅黑" panose="020B0503020204020204" pitchFamily="34" charset="-122"/>
                          <a:cs typeface="微软雅黑" panose="020B0503020204020204" pitchFamily="34" charset="-122"/>
                          <a:sym typeface="+mn-ea"/>
                        </a:rPr>
                        <a:t>迭代型生命周期</a:t>
                      </a:r>
                    </a:p>
                  </a:txBody>
                  <a:tcPr marL="91426" marR="91426">
                    <a:solidFill>
                      <a:schemeClr val="accent2">
                        <a:lumMod val="20000"/>
                        <a:lumOff val="80000"/>
                      </a:schemeClr>
                    </a:solidFill>
                  </a:tcPr>
                </a:tc>
                <a:tc>
                  <a:txBody>
                    <a:bodyPr/>
                    <a:lstStyle/>
                    <a:p>
                      <a:pPr>
                        <a:lnSpc>
                          <a:spcPct val="110000"/>
                        </a:lnSpc>
                        <a:buNone/>
                      </a:pPr>
                      <a:r>
                        <a:rPr lang="zh-CN" altLang="en-US" sz="1800" dirty="0">
                          <a:solidFill>
                            <a:srgbClr val="221E1F"/>
                          </a:solidFill>
                          <a:latin typeface="微软雅黑" panose="020B0503020204020204" pitchFamily="34" charset="-122"/>
                          <a:cs typeface="微软雅黑" panose="020B0503020204020204" pitchFamily="34" charset="-122"/>
                          <a:sym typeface="+mn-ea"/>
                        </a:rPr>
                        <a:t>项目范围通常于项目生命周期的早期确定，但时间及成本估算将随着项目团队对产品理解的不断深入而定期修改。</a:t>
                      </a:r>
                    </a:p>
                    <a:p>
                      <a:pPr>
                        <a:lnSpc>
                          <a:spcPct val="110000"/>
                        </a:lnSpc>
                        <a:buNone/>
                      </a:pPr>
                      <a:r>
                        <a:rPr lang="zh-CN" altLang="en-US" sz="1800" dirty="0">
                          <a:solidFill>
                            <a:srgbClr val="221E1F"/>
                          </a:solidFill>
                          <a:latin typeface="微软雅黑" panose="020B0503020204020204" pitchFamily="34" charset="-122"/>
                          <a:cs typeface="微软雅黑" panose="020B0503020204020204" pitchFamily="34" charset="-122"/>
                          <a:sym typeface="+mn-ea"/>
                        </a:rPr>
                        <a:t>迭代方法是通过一系列重复的循环活动来开发产品，而增量方法是渐进地增加产品的功能。 </a:t>
                      </a:r>
                      <a:endParaRPr lang="zh-CN" altLang="en-US" sz="1800" dirty="0"/>
                    </a:p>
                  </a:txBody>
                  <a:tcPr marL="91426" marR="91426">
                    <a:solidFill>
                      <a:schemeClr val="accent2">
                        <a:lumMod val="20000"/>
                        <a:lumOff val="80000"/>
                      </a:schemeClr>
                    </a:solidFill>
                  </a:tcPr>
                </a:tc>
              </a:tr>
              <a:tr h="998247">
                <a:tc>
                  <a:txBody>
                    <a:bodyPr/>
                    <a:lstStyle/>
                    <a:p>
                      <a:pPr>
                        <a:lnSpc>
                          <a:spcPct val="110000"/>
                        </a:lnSpc>
                        <a:buNone/>
                      </a:pPr>
                      <a:r>
                        <a:rPr lang="zh-CN" altLang="en-US" sz="1800" b="1">
                          <a:solidFill>
                            <a:srgbClr val="221E1F"/>
                          </a:solidFill>
                          <a:latin typeface="微软雅黑" panose="020B0503020204020204" pitchFamily="34" charset="-122"/>
                          <a:cs typeface="微软雅黑" panose="020B0503020204020204" pitchFamily="34" charset="-122"/>
                          <a:sym typeface="+mn-ea"/>
                        </a:rPr>
                        <a:t>增量型生命周期</a:t>
                      </a:r>
                    </a:p>
                  </a:txBody>
                  <a:tcPr marL="91426" marR="91426"/>
                </a:tc>
                <a:tc>
                  <a:txBody>
                    <a:bodyPr/>
                    <a:lstStyle/>
                    <a:p>
                      <a:pPr>
                        <a:lnSpc>
                          <a:spcPct val="110000"/>
                        </a:lnSpc>
                        <a:buNone/>
                      </a:pPr>
                      <a:r>
                        <a:rPr lang="zh-CN" altLang="en-US" sz="1800" dirty="0">
                          <a:solidFill>
                            <a:srgbClr val="221E1F"/>
                          </a:solidFill>
                          <a:latin typeface="微软雅黑" panose="020B0503020204020204" pitchFamily="34" charset="-122"/>
                          <a:cs typeface="微软雅黑" panose="020B0503020204020204" pitchFamily="34" charset="-122"/>
                          <a:sym typeface="+mn-ea"/>
                        </a:rPr>
                        <a:t>通过在预定的时间区间内渐进增加产品功能的一系列迭代来产出可交付成果。只有在最后一次迭代之后，可交付成果具有了必要和足够的能力，才能被视为完整的。 </a:t>
                      </a:r>
                      <a:endParaRPr lang="zh-CN" altLang="en-US" sz="1800" dirty="0"/>
                    </a:p>
                  </a:txBody>
                  <a:tcPr marL="91426" marR="91426"/>
                </a:tc>
              </a:tr>
              <a:tr h="902329">
                <a:tc>
                  <a:txBody>
                    <a:bodyPr/>
                    <a:lstStyle/>
                    <a:p>
                      <a:pPr>
                        <a:lnSpc>
                          <a:spcPct val="110000"/>
                        </a:lnSpc>
                        <a:buNone/>
                      </a:pPr>
                      <a:r>
                        <a:rPr lang="zh-CN" altLang="en-US" sz="1800" b="1">
                          <a:solidFill>
                            <a:srgbClr val="221E1F"/>
                          </a:solidFill>
                          <a:latin typeface="微软雅黑" panose="020B0503020204020204" pitchFamily="34" charset="-122"/>
                          <a:cs typeface="微软雅黑" panose="020B0503020204020204" pitchFamily="34" charset="-122"/>
                          <a:sym typeface="+mn-ea"/>
                        </a:rPr>
                        <a:t>适应型生命周期</a:t>
                      </a:r>
                    </a:p>
                  </a:txBody>
                  <a:tcPr marL="91426" marR="91426">
                    <a:solidFill>
                      <a:schemeClr val="accent2">
                        <a:lumMod val="20000"/>
                        <a:lumOff val="80000"/>
                      </a:schemeClr>
                    </a:solidFill>
                  </a:tcPr>
                </a:tc>
                <a:tc>
                  <a:txBody>
                    <a:bodyPr/>
                    <a:lstStyle/>
                    <a:p>
                      <a:pPr>
                        <a:lnSpc>
                          <a:spcPct val="110000"/>
                        </a:lnSpc>
                        <a:buNone/>
                      </a:pPr>
                      <a:r>
                        <a:rPr lang="zh-CN" altLang="en-US" sz="1800" dirty="0">
                          <a:solidFill>
                            <a:srgbClr val="221E1F"/>
                          </a:solidFill>
                          <a:latin typeface="微软雅黑" panose="020B0503020204020204" pitchFamily="34" charset="-122"/>
                          <a:cs typeface="微软雅黑" panose="020B0503020204020204" pitchFamily="34" charset="-122"/>
                          <a:sym typeface="+mn-ea"/>
                        </a:rPr>
                        <a:t>属于敏捷型、迭代型或增量型。详细范围在迭代开始之前就得到了定义和批准。适应型生命周期也称为敏捷或变更驱动型生命周期。</a:t>
                      </a:r>
                      <a:endParaRPr lang="zh-CN" altLang="en-US" sz="1800" dirty="0"/>
                    </a:p>
                  </a:txBody>
                  <a:tcPr marL="91426" marR="91426">
                    <a:solidFill>
                      <a:schemeClr val="accent2">
                        <a:lumMod val="20000"/>
                        <a:lumOff val="80000"/>
                      </a:schemeClr>
                    </a:solidFill>
                  </a:tcPr>
                </a:tc>
              </a:tr>
              <a:tr h="996690">
                <a:tc>
                  <a:txBody>
                    <a:bodyPr/>
                    <a:lstStyle/>
                    <a:p>
                      <a:pPr>
                        <a:lnSpc>
                          <a:spcPct val="110000"/>
                        </a:lnSpc>
                        <a:buNone/>
                      </a:pPr>
                      <a:r>
                        <a:rPr lang="zh-CN" altLang="en-US" sz="1800" b="1">
                          <a:solidFill>
                            <a:srgbClr val="221E1F"/>
                          </a:solidFill>
                          <a:latin typeface="微软雅黑" panose="020B0503020204020204" pitchFamily="34" charset="-122"/>
                          <a:cs typeface="微软雅黑" panose="020B0503020204020204" pitchFamily="34" charset="-122"/>
                          <a:sym typeface="+mn-ea"/>
                        </a:rPr>
                        <a:t>混合型生命周期</a:t>
                      </a:r>
                    </a:p>
                  </a:txBody>
                  <a:tcPr marL="91426" marR="91426"/>
                </a:tc>
                <a:tc>
                  <a:txBody>
                    <a:bodyPr/>
                    <a:lstStyle/>
                    <a:p>
                      <a:pPr>
                        <a:lnSpc>
                          <a:spcPct val="110000"/>
                        </a:lnSpc>
                        <a:buNone/>
                      </a:pPr>
                      <a:r>
                        <a:rPr lang="zh-CN" altLang="en-US" sz="1800" dirty="0">
                          <a:solidFill>
                            <a:srgbClr val="221E1F"/>
                          </a:solidFill>
                          <a:latin typeface="微软雅黑" panose="020B0503020204020204" pitchFamily="34" charset="-122"/>
                          <a:cs typeface="微软雅黑" panose="020B0503020204020204" pitchFamily="34" charset="-122"/>
                          <a:sym typeface="+mn-ea"/>
                        </a:rPr>
                        <a:t>预测型生命周期和适应型生命周期的组合。充分了解或有确定需求的项目要素遵循预测型开发生命周期，而仍在发展中的要素遵循适应型开发生命周期。</a:t>
                      </a:r>
                      <a:endParaRPr lang="zh-CN" altLang="en-US" sz="1800" dirty="0"/>
                    </a:p>
                  </a:txBody>
                  <a:tcPr marL="91426" marR="91426"/>
                </a:tc>
              </a:tr>
            </a:tbl>
          </a:graphicData>
        </a:graphic>
      </p:graphicFrame>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object 2"/>
          <p:cNvSpPr>
            <a:spLocks noGrp="1" noChangeArrowheads="1"/>
          </p:cNvSpPr>
          <p:nvPr>
            <p:ph type="title"/>
          </p:nvPr>
        </p:nvSpPr>
        <p:spPr>
          <a:xfrm>
            <a:off x="579438" y="611188"/>
            <a:ext cx="7364412" cy="427037"/>
          </a:xfrm>
        </p:spPr>
        <p:txBody>
          <a:bodyPr lIns="0" tIns="12095" rIns="0" bIns="0">
            <a:spAutoFit/>
          </a:bodyPr>
          <a:lstStyle/>
          <a:p>
            <a:pPr marL="12700">
              <a:lnSpc>
                <a:spcPct val="100000"/>
              </a:lnSpc>
              <a:spcBef>
                <a:spcPts val="100"/>
              </a:spcBef>
            </a:pPr>
            <a:r>
              <a:rPr smtClean="0"/>
              <a:t>预测型与适应型生命周期比较</a:t>
            </a:r>
          </a:p>
        </p:txBody>
      </p:sp>
      <p:graphicFrame>
        <p:nvGraphicFramePr>
          <p:cNvPr id="3" name="object 3"/>
          <p:cNvGraphicFramePr>
            <a:graphicFrameLocks noGrp="1"/>
          </p:cNvGraphicFramePr>
          <p:nvPr>
            <p:extLst>
              <p:ext uri="{D42A27DB-BD31-4B8C-83A1-F6EECF244321}">
                <p14:modId xmlns:p14="http://schemas.microsoft.com/office/powerpoint/2010/main" val="3945909041"/>
              </p:ext>
            </p:extLst>
          </p:nvPr>
        </p:nvGraphicFramePr>
        <p:xfrm>
          <a:off x="581025" y="1150938"/>
          <a:ext cx="8375650" cy="5007887"/>
        </p:xfrm>
        <a:graphic>
          <a:graphicData uri="http://schemas.openxmlformats.org/drawingml/2006/table">
            <a:tbl>
              <a:tblPr firstRow="1" bandRow="1">
                <a:tableStyleId>{2D5ABB26-0587-4C30-8999-92F81FD0307C}</a:tableStyleId>
              </a:tblPr>
              <a:tblGrid>
                <a:gridCol w="1282923"/>
                <a:gridCol w="2786880"/>
                <a:gridCol w="4305847"/>
              </a:tblGrid>
              <a:tr h="466239">
                <a:tc>
                  <a:txBody>
                    <a:bodyPr/>
                    <a:lstStyle/>
                    <a:p>
                      <a:pPr marL="12700" algn="ctr">
                        <a:lnSpc>
                          <a:spcPct val="100000"/>
                        </a:lnSpc>
                        <a:spcBef>
                          <a:spcPts val="215"/>
                        </a:spcBef>
                      </a:pPr>
                      <a:r>
                        <a:rPr sz="2000" b="1" dirty="0">
                          <a:solidFill>
                            <a:srgbClr val="00B050"/>
                          </a:solidFill>
                          <a:latin typeface="微软雅黑" panose="020B0503020204020204" pitchFamily="34" charset="-122"/>
                          <a:cs typeface="微软雅黑" panose="020B0503020204020204" pitchFamily="34" charset="-122"/>
                        </a:rPr>
                        <a:t>项目特点</a:t>
                      </a:r>
                    </a:p>
                  </a:txBody>
                  <a:tcPr marL="0" marR="0" marT="25977"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12700" algn="ctr">
                        <a:lnSpc>
                          <a:spcPct val="100000"/>
                        </a:lnSpc>
                        <a:spcBef>
                          <a:spcPts val="215"/>
                        </a:spcBef>
                      </a:pPr>
                      <a:r>
                        <a:rPr sz="2000" b="1" dirty="0">
                          <a:solidFill>
                            <a:srgbClr val="002060"/>
                          </a:solidFill>
                          <a:latin typeface="微软雅黑" panose="020B0503020204020204" pitchFamily="34" charset="-122"/>
                          <a:cs typeface="微软雅黑" panose="020B0503020204020204" pitchFamily="34" charset="-122"/>
                        </a:rPr>
                        <a:t>预测型（瀑布）</a:t>
                      </a:r>
                    </a:p>
                  </a:txBody>
                  <a:tcPr marL="0" marR="0" marT="25977"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000"/>
                    </a:solidFill>
                  </a:tcPr>
                </a:tc>
                <a:tc>
                  <a:txBody>
                    <a:bodyPr/>
                    <a:lstStyle/>
                    <a:p>
                      <a:pPr marL="13970" algn="ctr">
                        <a:lnSpc>
                          <a:spcPct val="100000"/>
                        </a:lnSpc>
                        <a:spcBef>
                          <a:spcPts val="215"/>
                        </a:spcBef>
                      </a:pPr>
                      <a:r>
                        <a:rPr sz="2000" b="1" dirty="0">
                          <a:solidFill>
                            <a:srgbClr val="002060"/>
                          </a:solidFill>
                          <a:latin typeface="微软雅黑" panose="020B0503020204020204" pitchFamily="34" charset="-122"/>
                          <a:cs typeface="微软雅黑" panose="020B0503020204020204" pitchFamily="34" charset="-122"/>
                        </a:rPr>
                        <a:t>适应型（敏捷方法）</a:t>
                      </a:r>
                    </a:p>
                  </a:txBody>
                  <a:tcPr marL="0" marR="0" marT="25977"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B0F0"/>
                    </a:solidFill>
                  </a:tcPr>
                </a:tc>
              </a:tr>
              <a:tr h="739675">
                <a:tc>
                  <a:txBody>
                    <a:bodyPr/>
                    <a:lstStyle/>
                    <a:p>
                      <a:pPr marL="12065" algn="ctr">
                        <a:lnSpc>
                          <a:spcPct val="100000"/>
                        </a:lnSpc>
                        <a:spcBef>
                          <a:spcPts val="225"/>
                        </a:spcBef>
                        <a:buNone/>
                      </a:pPr>
                      <a:r>
                        <a:rPr lang="zh-CN" altLang="en-US" sz="2000" b="1" dirty="0">
                          <a:solidFill>
                            <a:schemeClr val="bg1"/>
                          </a:solidFill>
                          <a:latin typeface="微软雅黑" panose="020B0503020204020204" pitchFamily="34" charset="-122"/>
                          <a:cs typeface="微软雅黑" panose="020B0503020204020204" pitchFamily="34" charset="-122"/>
                        </a:rPr>
                        <a:t>适用条件</a:t>
                      </a:r>
                    </a:p>
                  </a:txBody>
                  <a:tcPr marL="0" marR="0" marT="27186"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B050"/>
                    </a:solidFill>
                  </a:tcPr>
                </a:tc>
                <a:tc>
                  <a:txBody>
                    <a:bodyPr/>
                    <a:lstStyle/>
                    <a:p>
                      <a:pPr marL="71755" algn="l" fontAlgn="auto">
                        <a:lnSpc>
                          <a:spcPct val="130000"/>
                        </a:lnSpc>
                        <a:spcBef>
                          <a:spcPts val="225"/>
                        </a:spcBef>
                        <a:buNone/>
                      </a:pPr>
                      <a:r>
                        <a:rPr lang="zh-CN" altLang="en-US" sz="1800" b="0">
                          <a:solidFill>
                            <a:srgbClr val="002060"/>
                          </a:solidFill>
                          <a:latin typeface="+mn-ea"/>
                          <a:cs typeface="微软雅黑" panose="020B0503020204020204" pitchFamily="34" charset="-122"/>
                        </a:rPr>
                        <a:t>需求明确、产品清晰、无须变更、风险较低</a:t>
                      </a:r>
                    </a:p>
                  </a:txBody>
                  <a:tcPr marL="0" marR="0" marT="27186"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71755" algn="l" fontAlgn="auto">
                        <a:lnSpc>
                          <a:spcPct val="130000"/>
                        </a:lnSpc>
                        <a:spcBef>
                          <a:spcPts val="225"/>
                        </a:spcBef>
                        <a:buNone/>
                      </a:pPr>
                      <a:r>
                        <a:rPr lang="zh-CN" altLang="en-US" sz="1800" b="0">
                          <a:solidFill>
                            <a:srgbClr val="002060"/>
                          </a:solidFill>
                          <a:latin typeface="+mn-ea"/>
                          <a:cs typeface="微软雅黑" panose="020B0503020204020204" pitchFamily="34" charset="-122"/>
                        </a:rPr>
                        <a:t>需求不清、产品模糊、频繁变更、风险较高</a:t>
                      </a:r>
                    </a:p>
                  </a:txBody>
                  <a:tcPr marL="0" marR="0" marT="27186"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r>
              <a:tr h="1095920">
                <a:tc>
                  <a:txBody>
                    <a:bodyPr/>
                    <a:lstStyle/>
                    <a:p>
                      <a:pPr marL="12065" algn="ctr">
                        <a:lnSpc>
                          <a:spcPct val="100000"/>
                        </a:lnSpc>
                        <a:spcBef>
                          <a:spcPts val="225"/>
                        </a:spcBef>
                        <a:buNone/>
                      </a:pPr>
                      <a:r>
                        <a:rPr lang="zh-CN" altLang="en-US" sz="2000" b="1" dirty="0">
                          <a:solidFill>
                            <a:schemeClr val="bg1"/>
                          </a:solidFill>
                          <a:latin typeface="微软雅黑" panose="020B0503020204020204" pitchFamily="34" charset="-122"/>
                          <a:cs typeface="微软雅黑" panose="020B0503020204020204" pitchFamily="34" charset="-122"/>
                        </a:rPr>
                        <a:t>开发流程</a:t>
                      </a:r>
                    </a:p>
                  </a:txBody>
                  <a:tcPr marL="0" marR="0" marT="27186"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B050"/>
                    </a:solidFill>
                  </a:tcPr>
                </a:tc>
                <a:tc>
                  <a:txBody>
                    <a:bodyPr/>
                    <a:lstStyle/>
                    <a:p>
                      <a:pPr marL="71755" algn="l" fontAlgn="auto">
                        <a:lnSpc>
                          <a:spcPct val="130000"/>
                        </a:lnSpc>
                        <a:spcBef>
                          <a:spcPts val="225"/>
                        </a:spcBef>
                        <a:buNone/>
                      </a:pPr>
                      <a:r>
                        <a:rPr lang="zh-CN" altLang="en-US" sz="1800" b="0">
                          <a:solidFill>
                            <a:srgbClr val="002060"/>
                          </a:solidFill>
                          <a:latin typeface="+mn-ea"/>
                          <a:cs typeface="+mn-ea"/>
                        </a:rPr>
                        <a:t>依次进行设计、建造和测试，</a:t>
                      </a:r>
                      <a:r>
                        <a:rPr lang="zh-CN" altLang="en-US" sz="1800" b="1" u="sng">
                          <a:solidFill>
                            <a:srgbClr val="C00000"/>
                          </a:solidFill>
                          <a:latin typeface="+mn-ea"/>
                          <a:cs typeface="+mn-ea"/>
                        </a:rPr>
                        <a:t>一次交付完整产品</a:t>
                      </a:r>
                    </a:p>
                  </a:txBody>
                  <a:tcPr marL="0" marR="0" marT="27186"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71755" algn="l" fontAlgn="auto">
                        <a:lnSpc>
                          <a:spcPct val="130000"/>
                        </a:lnSpc>
                        <a:spcBef>
                          <a:spcPts val="225"/>
                        </a:spcBef>
                        <a:buNone/>
                      </a:pPr>
                      <a:r>
                        <a:rPr lang="zh-CN" altLang="en-US" sz="1800" b="0">
                          <a:solidFill>
                            <a:srgbClr val="002060"/>
                          </a:solidFill>
                          <a:latin typeface="+mn-ea"/>
                          <a:cs typeface="+mn-ea"/>
                        </a:rPr>
                        <a:t>每个迭代期都需设计、建造和测试，并交付产品原型；</a:t>
                      </a:r>
                      <a:r>
                        <a:rPr lang="zh-CN" altLang="en-US" sz="1800" b="1" u="sng">
                          <a:solidFill>
                            <a:srgbClr val="C00000"/>
                          </a:solidFill>
                          <a:latin typeface="+mn-ea"/>
                          <a:cs typeface="+mn-ea"/>
                        </a:rPr>
                        <a:t>经若干迭代期后，交付最终产品</a:t>
                      </a:r>
                    </a:p>
                  </a:txBody>
                  <a:tcPr marL="0" marR="0" marT="27186"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r>
              <a:tr h="383430">
                <a:tc>
                  <a:txBody>
                    <a:bodyPr/>
                    <a:lstStyle/>
                    <a:p>
                      <a:pPr marL="12065" algn="ctr">
                        <a:lnSpc>
                          <a:spcPct val="100000"/>
                        </a:lnSpc>
                        <a:spcBef>
                          <a:spcPts val="225"/>
                        </a:spcBef>
                      </a:pPr>
                      <a:r>
                        <a:rPr sz="2000" b="1" dirty="0">
                          <a:solidFill>
                            <a:schemeClr val="bg1"/>
                          </a:solidFill>
                          <a:latin typeface="微软雅黑" panose="020B0503020204020204" pitchFamily="34" charset="-122"/>
                          <a:cs typeface="微软雅黑" panose="020B0503020204020204" pitchFamily="34" charset="-122"/>
                        </a:rPr>
                        <a:t>需求</a:t>
                      </a:r>
                    </a:p>
                  </a:txBody>
                  <a:tcPr marL="0" marR="0" marT="27186"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B050"/>
                    </a:solidFill>
                  </a:tcPr>
                </a:tc>
                <a:tc>
                  <a:txBody>
                    <a:bodyPr/>
                    <a:lstStyle/>
                    <a:p>
                      <a:pPr marL="71755" algn="l" fontAlgn="auto">
                        <a:lnSpc>
                          <a:spcPct val="130000"/>
                        </a:lnSpc>
                        <a:spcBef>
                          <a:spcPts val="225"/>
                        </a:spcBef>
                      </a:pPr>
                      <a:r>
                        <a:rPr sz="1800" b="0" dirty="0">
                          <a:solidFill>
                            <a:srgbClr val="002060"/>
                          </a:solidFill>
                          <a:latin typeface="+mn-ea"/>
                          <a:cs typeface="微软雅黑" panose="020B0503020204020204" pitchFamily="34" charset="-122"/>
                        </a:rPr>
                        <a:t>明确</a:t>
                      </a:r>
                    </a:p>
                  </a:txBody>
                  <a:tcPr marL="0" marR="0" marT="27186"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71755" algn="l" fontAlgn="auto">
                        <a:lnSpc>
                          <a:spcPct val="130000"/>
                        </a:lnSpc>
                        <a:spcBef>
                          <a:spcPts val="225"/>
                        </a:spcBef>
                      </a:pPr>
                      <a:r>
                        <a:rPr sz="1800" b="0" dirty="0">
                          <a:solidFill>
                            <a:srgbClr val="002060"/>
                          </a:solidFill>
                          <a:latin typeface="+mn-ea"/>
                          <a:cs typeface="微软雅黑" panose="020B0503020204020204" pitchFamily="34" charset="-122"/>
                        </a:rPr>
                        <a:t>不明确</a:t>
                      </a:r>
                    </a:p>
                  </a:txBody>
                  <a:tcPr marL="0" marR="0" marT="27186"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r>
              <a:tr h="1095920">
                <a:tc>
                  <a:txBody>
                    <a:bodyPr/>
                    <a:lstStyle/>
                    <a:p>
                      <a:pPr marL="12065" algn="ctr">
                        <a:lnSpc>
                          <a:spcPct val="100000"/>
                        </a:lnSpc>
                        <a:spcBef>
                          <a:spcPts val="225"/>
                        </a:spcBef>
                      </a:pPr>
                      <a:r>
                        <a:rPr sz="2000" b="1" dirty="0">
                          <a:solidFill>
                            <a:schemeClr val="bg1"/>
                          </a:solidFill>
                          <a:latin typeface="微软雅黑" panose="020B0503020204020204" pitchFamily="34" charset="-122"/>
                          <a:cs typeface="微软雅黑" panose="020B0503020204020204" pitchFamily="34" charset="-122"/>
                        </a:rPr>
                        <a:t>范围</a:t>
                      </a:r>
                    </a:p>
                  </a:txBody>
                  <a:tcPr marL="0" marR="0" marT="27186"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B050"/>
                    </a:solidFill>
                  </a:tcPr>
                </a:tc>
                <a:tc>
                  <a:txBody>
                    <a:bodyPr/>
                    <a:lstStyle/>
                    <a:p>
                      <a:pPr marL="71755" algn="l" fontAlgn="auto">
                        <a:lnSpc>
                          <a:spcPct val="130000"/>
                        </a:lnSpc>
                        <a:spcBef>
                          <a:spcPts val="225"/>
                        </a:spcBef>
                      </a:pPr>
                      <a:r>
                        <a:rPr sz="1800" b="0" dirty="0">
                          <a:solidFill>
                            <a:srgbClr val="002060"/>
                          </a:solidFill>
                          <a:latin typeface="+mn-ea"/>
                          <a:cs typeface="微软雅黑" panose="020B0503020204020204" pitchFamily="34" charset="-122"/>
                        </a:rPr>
                        <a:t>清晰</a:t>
                      </a:r>
                      <a:r>
                        <a:rPr lang="zh-CN" sz="1800" b="0" dirty="0">
                          <a:solidFill>
                            <a:srgbClr val="002060"/>
                          </a:solidFill>
                          <a:latin typeface="+mn-ea"/>
                          <a:cs typeface="微软雅黑" panose="020B0503020204020204" pitchFamily="34" charset="-122"/>
                        </a:rPr>
                        <a:t>，一开始就明确整个项目的范围，且通常不变</a:t>
                      </a:r>
                    </a:p>
                  </a:txBody>
                  <a:tcPr marL="0" marR="0" marT="27186"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71755" algn="l" fontAlgn="auto">
                        <a:lnSpc>
                          <a:spcPct val="130000"/>
                        </a:lnSpc>
                        <a:spcBef>
                          <a:spcPts val="225"/>
                        </a:spcBef>
                      </a:pPr>
                      <a:r>
                        <a:rPr sz="1800" b="0" dirty="0">
                          <a:solidFill>
                            <a:srgbClr val="002060"/>
                          </a:solidFill>
                          <a:latin typeface="+mn-ea"/>
                          <a:cs typeface="+mn-ea"/>
                        </a:rPr>
                        <a:t>不清晰</a:t>
                      </a:r>
                      <a:r>
                        <a:rPr lang="zh-CN" sz="1800" b="0" dirty="0">
                          <a:solidFill>
                            <a:srgbClr val="002060"/>
                          </a:solidFill>
                          <a:latin typeface="+mn-ea"/>
                          <a:cs typeface="+mn-ea"/>
                        </a:rPr>
                        <a:t>，依次明确各迭代期的项目范围；范围在一个迭代期内不变，在迭代期之间必变</a:t>
                      </a:r>
                    </a:p>
                  </a:txBody>
                  <a:tcPr marL="0" marR="0" marT="27186"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r>
              <a:tr h="383430">
                <a:tc>
                  <a:txBody>
                    <a:bodyPr/>
                    <a:lstStyle/>
                    <a:p>
                      <a:pPr marL="12065" algn="ctr">
                        <a:lnSpc>
                          <a:spcPct val="100000"/>
                        </a:lnSpc>
                        <a:spcBef>
                          <a:spcPts val="225"/>
                        </a:spcBef>
                      </a:pPr>
                      <a:r>
                        <a:rPr sz="2000" b="1" dirty="0">
                          <a:solidFill>
                            <a:schemeClr val="bg1"/>
                          </a:solidFill>
                          <a:latin typeface="微软雅黑" panose="020B0503020204020204" pitchFamily="34" charset="-122"/>
                          <a:cs typeface="微软雅黑" panose="020B0503020204020204" pitchFamily="34" charset="-122"/>
                        </a:rPr>
                        <a:t>变更</a:t>
                      </a:r>
                    </a:p>
                  </a:txBody>
                  <a:tcPr marL="0" marR="0" marT="27186"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B050"/>
                    </a:solidFill>
                  </a:tcPr>
                </a:tc>
                <a:tc>
                  <a:txBody>
                    <a:bodyPr/>
                    <a:lstStyle/>
                    <a:p>
                      <a:pPr marL="71755" algn="l" fontAlgn="auto">
                        <a:lnSpc>
                          <a:spcPct val="130000"/>
                        </a:lnSpc>
                        <a:spcBef>
                          <a:spcPts val="225"/>
                        </a:spcBef>
                      </a:pPr>
                      <a:r>
                        <a:rPr sz="1800" b="0" dirty="0">
                          <a:solidFill>
                            <a:srgbClr val="002060"/>
                          </a:solidFill>
                          <a:latin typeface="+mn-ea"/>
                          <a:cs typeface="微软雅黑" panose="020B0503020204020204" pitchFamily="34" charset="-122"/>
                        </a:rPr>
                        <a:t>不频繁</a:t>
                      </a:r>
                    </a:p>
                  </a:txBody>
                  <a:tcPr marL="0" marR="0" marT="27186"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71755" algn="l" fontAlgn="auto">
                        <a:lnSpc>
                          <a:spcPct val="130000"/>
                        </a:lnSpc>
                        <a:spcBef>
                          <a:spcPts val="225"/>
                        </a:spcBef>
                      </a:pPr>
                      <a:r>
                        <a:rPr sz="1800" b="0" dirty="0">
                          <a:solidFill>
                            <a:srgbClr val="002060"/>
                          </a:solidFill>
                          <a:latin typeface="+mn-ea"/>
                          <a:cs typeface="微软雅黑" panose="020B0503020204020204" pitchFamily="34" charset="-122"/>
                        </a:rPr>
                        <a:t>频繁</a:t>
                      </a:r>
                    </a:p>
                  </a:txBody>
                  <a:tcPr marL="0" marR="0" marT="27186"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r>
              <a:tr h="384034">
                <a:tc>
                  <a:txBody>
                    <a:bodyPr/>
                    <a:lstStyle/>
                    <a:p>
                      <a:pPr marL="12065" algn="ctr">
                        <a:lnSpc>
                          <a:spcPct val="100000"/>
                        </a:lnSpc>
                        <a:spcBef>
                          <a:spcPts val="230"/>
                        </a:spcBef>
                      </a:pPr>
                      <a:r>
                        <a:rPr sz="2000" b="1" dirty="0">
                          <a:solidFill>
                            <a:schemeClr val="bg1"/>
                          </a:solidFill>
                          <a:latin typeface="微软雅黑" panose="020B0503020204020204" pitchFamily="34" charset="-122"/>
                          <a:cs typeface="微软雅黑" panose="020B0503020204020204" pitchFamily="34" charset="-122"/>
                        </a:rPr>
                        <a:t>产品</a:t>
                      </a:r>
                    </a:p>
                  </a:txBody>
                  <a:tcPr marL="0" marR="0" marT="27789"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B050"/>
                    </a:solidFill>
                  </a:tcPr>
                </a:tc>
                <a:tc>
                  <a:txBody>
                    <a:bodyPr/>
                    <a:lstStyle/>
                    <a:p>
                      <a:pPr marL="71755" algn="l" fontAlgn="auto">
                        <a:lnSpc>
                          <a:spcPct val="130000"/>
                        </a:lnSpc>
                        <a:spcBef>
                          <a:spcPts val="230"/>
                        </a:spcBef>
                      </a:pPr>
                      <a:r>
                        <a:rPr sz="1800" b="0" dirty="0">
                          <a:solidFill>
                            <a:srgbClr val="002060"/>
                          </a:solidFill>
                          <a:latin typeface="+mn-ea"/>
                          <a:cs typeface="微软雅黑" panose="020B0503020204020204" pitchFamily="34" charset="-122"/>
                        </a:rPr>
                        <a:t>必须</a:t>
                      </a:r>
                      <a:r>
                        <a:rPr sz="1800" b="1" u="sng" dirty="0">
                          <a:solidFill>
                            <a:srgbClr val="C00000"/>
                          </a:solidFill>
                          <a:latin typeface="+mn-ea"/>
                          <a:cs typeface="微软雅黑" panose="020B0503020204020204" pitchFamily="34" charset="-122"/>
                        </a:rPr>
                        <a:t>整体交付</a:t>
                      </a:r>
                    </a:p>
                  </a:txBody>
                  <a:tcPr marL="0" marR="0" marT="27789"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71755" algn="l" fontAlgn="auto">
                        <a:lnSpc>
                          <a:spcPct val="130000"/>
                        </a:lnSpc>
                        <a:spcBef>
                          <a:spcPts val="230"/>
                        </a:spcBef>
                      </a:pPr>
                      <a:r>
                        <a:rPr sz="1800" b="1" dirty="0">
                          <a:solidFill>
                            <a:srgbClr val="C00000"/>
                          </a:solidFill>
                          <a:latin typeface="+mn-ea"/>
                          <a:cs typeface="微软雅黑" panose="020B0503020204020204" pitchFamily="34" charset="-122"/>
                        </a:rPr>
                        <a:t>部分交付有价值</a:t>
                      </a:r>
                    </a:p>
                  </a:txBody>
                  <a:tcPr marL="0" marR="0" marT="27789"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r>
              <a:tr h="455153">
                <a:tc>
                  <a:txBody>
                    <a:bodyPr/>
                    <a:lstStyle/>
                    <a:p>
                      <a:pPr marL="13970" algn="ctr">
                        <a:lnSpc>
                          <a:spcPct val="100000"/>
                        </a:lnSpc>
                        <a:spcBef>
                          <a:spcPts val="230"/>
                        </a:spcBef>
                      </a:pPr>
                      <a:r>
                        <a:rPr sz="2000" b="1" dirty="0">
                          <a:solidFill>
                            <a:schemeClr val="bg1"/>
                          </a:solidFill>
                          <a:latin typeface="微软雅黑" panose="020B0503020204020204" pitchFamily="34" charset="-122"/>
                          <a:cs typeface="微软雅黑" panose="020B0503020204020204" pitchFamily="34" charset="-122"/>
                        </a:rPr>
                        <a:t>干系人</a:t>
                      </a:r>
                    </a:p>
                  </a:txBody>
                  <a:tcPr marL="0" marR="0" marT="27789"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B050"/>
                    </a:solidFill>
                  </a:tcPr>
                </a:tc>
                <a:tc>
                  <a:txBody>
                    <a:bodyPr/>
                    <a:lstStyle/>
                    <a:p>
                      <a:pPr marL="71755" algn="l" fontAlgn="auto">
                        <a:lnSpc>
                          <a:spcPct val="130000"/>
                        </a:lnSpc>
                        <a:spcBef>
                          <a:spcPts val="230"/>
                        </a:spcBef>
                      </a:pPr>
                      <a:r>
                        <a:rPr sz="1800" b="0" dirty="0">
                          <a:solidFill>
                            <a:srgbClr val="002060"/>
                          </a:solidFill>
                          <a:latin typeface="+mn-ea"/>
                          <a:cs typeface="微软雅黑" panose="020B0503020204020204" pitchFamily="34" charset="-122"/>
                        </a:rPr>
                        <a:t>只参与设计与验收</a:t>
                      </a:r>
                    </a:p>
                  </a:txBody>
                  <a:tcPr marL="0" marR="0" marT="27789"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71755" algn="l" fontAlgn="auto">
                        <a:lnSpc>
                          <a:spcPct val="130000"/>
                        </a:lnSpc>
                        <a:spcBef>
                          <a:spcPts val="230"/>
                        </a:spcBef>
                      </a:pPr>
                      <a:r>
                        <a:rPr sz="1800" b="1" dirty="0">
                          <a:solidFill>
                            <a:srgbClr val="C00000"/>
                          </a:solidFill>
                          <a:latin typeface="+mn-ea"/>
                          <a:cs typeface="微软雅黑" panose="020B0503020204020204" pitchFamily="34" charset="-122"/>
                        </a:rPr>
                        <a:t>频繁</a:t>
                      </a:r>
                      <a:r>
                        <a:rPr sz="1800" b="0" dirty="0">
                          <a:solidFill>
                            <a:srgbClr val="002060"/>
                          </a:solidFill>
                          <a:latin typeface="+mn-ea"/>
                          <a:cs typeface="微软雅黑" panose="020B0503020204020204" pitchFamily="34" charset="-122"/>
                        </a:rPr>
                        <a:t>参与原型设计与验收</a:t>
                      </a:r>
                    </a:p>
                  </a:txBody>
                  <a:tcPr marL="0" marR="0" marT="27789"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r>
            </a:tbl>
          </a:graphicData>
        </a:graphic>
      </p:graphicFrame>
      <p:sp>
        <p:nvSpPr>
          <p:cNvPr id="2" name="五角星 1"/>
          <p:cNvSpPr/>
          <p:nvPr/>
        </p:nvSpPr>
        <p:spPr>
          <a:xfrm>
            <a:off x="5846763" y="72231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7" name="五角星 6"/>
          <p:cNvSpPr/>
          <p:nvPr/>
        </p:nvSpPr>
        <p:spPr>
          <a:xfrm>
            <a:off x="6096000" y="72231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0" name="五角星 9"/>
          <p:cNvSpPr/>
          <p:nvPr/>
        </p:nvSpPr>
        <p:spPr>
          <a:xfrm>
            <a:off x="6353175" y="72231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1" name="五角星 10"/>
          <p:cNvSpPr/>
          <p:nvPr/>
        </p:nvSpPr>
        <p:spPr>
          <a:xfrm>
            <a:off x="6592888" y="72231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2" name="五角星 11"/>
          <p:cNvSpPr/>
          <p:nvPr/>
        </p:nvSpPr>
        <p:spPr>
          <a:xfrm>
            <a:off x="6838950" y="72231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3" name="五角星 12"/>
          <p:cNvSpPr/>
          <p:nvPr/>
        </p:nvSpPr>
        <p:spPr>
          <a:xfrm>
            <a:off x="5340350" y="72231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4" name="五角星 13"/>
          <p:cNvSpPr/>
          <p:nvPr/>
        </p:nvSpPr>
        <p:spPr>
          <a:xfrm>
            <a:off x="5586413" y="72231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Rectangle 2"/>
          <p:cNvSpPr>
            <a:spLocks noGrp="1" noChangeArrowheads="1"/>
          </p:cNvSpPr>
          <p:nvPr>
            <p:ph type="title"/>
          </p:nvPr>
        </p:nvSpPr>
        <p:spPr>
          <a:xfrm>
            <a:off x="1030288" y="828675"/>
            <a:ext cx="7148512" cy="563563"/>
          </a:xfrm>
        </p:spPr>
        <p:txBody>
          <a:bodyPr/>
          <a:lstStyle/>
          <a:p>
            <a:pPr algn="ctr" eaLnBrk="1" hangingPunct="1"/>
            <a:r>
              <a:rPr sz="2400" smtClean="0">
                <a:solidFill>
                  <a:srgbClr val="C00000"/>
                </a:solidFill>
              </a:rPr>
              <a:t>项目阶段与项目生命周期的特征</a:t>
            </a:r>
          </a:p>
        </p:txBody>
      </p:sp>
      <p:sp>
        <p:nvSpPr>
          <p:cNvPr id="2" name="文本框 1"/>
          <p:cNvSpPr txBox="1"/>
          <p:nvPr/>
        </p:nvSpPr>
        <p:spPr>
          <a:xfrm>
            <a:off x="1062038" y="5830888"/>
            <a:ext cx="6049962" cy="339725"/>
          </a:xfrm>
          <a:prstGeom prst="rect">
            <a:avLst/>
          </a:prstGeom>
          <a:noFill/>
        </p:spPr>
        <p:txBody>
          <a:bodyPr wrap="none">
            <a:spAutoFit/>
          </a:bodyPr>
          <a:lstStyle/>
          <a:p>
            <a:pPr marL="32385" lvl="1" algn="ctr" fontAlgn="auto">
              <a:lnSpc>
                <a:spcPct val="90000"/>
              </a:lnSpc>
              <a:spcBef>
                <a:spcPts val="500"/>
              </a:spcBef>
              <a:spcAft>
                <a:spcPts val="0"/>
              </a:spcAft>
              <a:defRPr/>
            </a:pPr>
            <a:r>
              <a:rPr lang="zh-CN" altLang="en-US" b="1" i="1" dirty="0">
                <a:solidFill>
                  <a:srgbClr val="C00000"/>
                </a:solidFill>
                <a:latin typeface="+mn-lt"/>
                <a:ea typeface="+mn-ea"/>
                <a:sym typeface="+mn-ea"/>
              </a:rPr>
              <a:t>通用项目生命周期结构中典型的费用和人员投入水平</a:t>
            </a:r>
          </a:p>
        </p:txBody>
      </p:sp>
      <p:grpSp>
        <p:nvGrpSpPr>
          <p:cNvPr id="57347" name="Group 3"/>
          <p:cNvGrpSpPr>
            <a:grpSpLocks/>
          </p:cNvGrpSpPr>
          <p:nvPr/>
        </p:nvGrpSpPr>
        <p:grpSpPr bwMode="auto">
          <a:xfrm>
            <a:off x="450850" y="1685925"/>
            <a:ext cx="7329488" cy="3983038"/>
            <a:chOff x="-74" y="528"/>
            <a:chExt cx="5723" cy="3602"/>
          </a:xfrm>
        </p:grpSpPr>
        <p:sp>
          <p:nvSpPr>
            <p:cNvPr id="57348" name="Text Box 4"/>
            <p:cNvSpPr txBox="1">
              <a:spLocks noChangeArrowheads="1"/>
            </p:cNvSpPr>
            <p:nvPr/>
          </p:nvSpPr>
          <p:spPr bwMode="auto">
            <a:xfrm>
              <a:off x="2753" y="3836"/>
              <a:ext cx="1195" cy="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6988">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spcBef>
                  <a:spcPct val="50000"/>
                </a:spcBef>
              </a:pPr>
              <a:r>
                <a:rPr lang="zh-CN" altLang="en-US" b="1">
                  <a:latin typeface="微软雅黑" pitchFamily="34" charset="-122"/>
                </a:rPr>
                <a:t>时间</a:t>
              </a:r>
            </a:p>
          </p:txBody>
        </p:sp>
        <p:sp>
          <p:nvSpPr>
            <p:cNvPr id="57349" name="Freeform 5"/>
            <p:cNvSpPr>
              <a:spLocks noChangeArrowheads="1"/>
            </p:cNvSpPr>
            <p:nvPr/>
          </p:nvSpPr>
          <p:spPr bwMode="auto">
            <a:xfrm>
              <a:off x="720" y="960"/>
              <a:ext cx="4091" cy="2620"/>
            </a:xfrm>
            <a:custGeom>
              <a:avLst/>
              <a:gdLst>
                <a:gd name="T0" fmla="*/ 0 w 4107"/>
                <a:gd name="T1" fmla="*/ 1886 h 1886"/>
                <a:gd name="T2" fmla="*/ 403 w 4107"/>
                <a:gd name="T3" fmla="*/ 1675 h 1886"/>
                <a:gd name="T4" fmla="*/ 1061 w 4107"/>
                <a:gd name="T5" fmla="*/ 1364 h 1886"/>
                <a:gd name="T6" fmla="*/ 2325 w 4107"/>
                <a:gd name="T7" fmla="*/ 53 h 1886"/>
                <a:gd name="T8" fmla="*/ 3259 w 4107"/>
                <a:gd name="T9" fmla="*/ 1047 h 1886"/>
                <a:gd name="T10" fmla="*/ 4107 w 4107"/>
                <a:gd name="T11" fmla="*/ 1881 h 1886"/>
              </a:gdLst>
              <a:ahLst/>
              <a:cxnLst>
                <a:cxn ang="0">
                  <a:pos x="T0" y="T1"/>
                </a:cxn>
                <a:cxn ang="0">
                  <a:pos x="T2" y="T3"/>
                </a:cxn>
                <a:cxn ang="0">
                  <a:pos x="T4" y="T5"/>
                </a:cxn>
                <a:cxn ang="0">
                  <a:pos x="T6" y="T7"/>
                </a:cxn>
                <a:cxn ang="0">
                  <a:pos x="T8" y="T9"/>
                </a:cxn>
                <a:cxn ang="0">
                  <a:pos x="T10" y="T11"/>
                </a:cxn>
              </a:cxnLst>
              <a:rect l="0" t="0" r="r" b="b"/>
              <a:pathLst>
                <a:path w="4107" h="1886">
                  <a:moveTo>
                    <a:pt x="0" y="1886"/>
                  </a:moveTo>
                  <a:cubicBezTo>
                    <a:pt x="65" y="1851"/>
                    <a:pt x="226" y="1762"/>
                    <a:pt x="403" y="1675"/>
                  </a:cubicBezTo>
                  <a:cubicBezTo>
                    <a:pt x="580" y="1588"/>
                    <a:pt x="741" y="1634"/>
                    <a:pt x="1061" y="1364"/>
                  </a:cubicBezTo>
                  <a:cubicBezTo>
                    <a:pt x="1381" y="1094"/>
                    <a:pt x="1959" y="106"/>
                    <a:pt x="2325" y="53"/>
                  </a:cubicBezTo>
                  <a:cubicBezTo>
                    <a:pt x="2691" y="0"/>
                    <a:pt x="2962" y="742"/>
                    <a:pt x="3259" y="1047"/>
                  </a:cubicBezTo>
                  <a:cubicBezTo>
                    <a:pt x="3556" y="1352"/>
                    <a:pt x="3930" y="1707"/>
                    <a:pt x="4107" y="1881"/>
                  </a:cubicBezTo>
                </a:path>
              </a:pathLst>
            </a:custGeom>
            <a:noFill/>
            <a:ln w="27051" cap="rnd">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endParaRPr lang="zh-CN" altLang="en-US"/>
            </a:p>
          </p:txBody>
        </p:sp>
        <p:sp>
          <p:nvSpPr>
            <p:cNvPr id="57350" name="Line 6"/>
            <p:cNvSpPr>
              <a:spLocks noChangeShapeType="1"/>
            </p:cNvSpPr>
            <p:nvPr/>
          </p:nvSpPr>
          <p:spPr bwMode="auto">
            <a:xfrm>
              <a:off x="738" y="3595"/>
              <a:ext cx="4686" cy="0"/>
            </a:xfrm>
            <a:prstGeom prst="line">
              <a:avLst/>
            </a:prstGeom>
            <a:noFill/>
            <a:ln w="38100" cap="rnd">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57351" name="Line 7"/>
            <p:cNvSpPr>
              <a:spLocks noChangeShapeType="1"/>
            </p:cNvSpPr>
            <p:nvPr/>
          </p:nvSpPr>
          <p:spPr bwMode="auto">
            <a:xfrm flipV="1">
              <a:off x="738" y="528"/>
              <a:ext cx="0" cy="3067"/>
            </a:xfrm>
            <a:prstGeom prst="line">
              <a:avLst/>
            </a:prstGeom>
            <a:noFill/>
            <a:ln w="38100" cap="rnd">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57352" name="Text Box 8"/>
            <p:cNvSpPr txBox="1">
              <a:spLocks noChangeArrowheads="1"/>
            </p:cNvSpPr>
            <p:nvPr/>
          </p:nvSpPr>
          <p:spPr bwMode="auto">
            <a:xfrm>
              <a:off x="283" y="1320"/>
              <a:ext cx="360" cy="2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6988">
                  <a:solidFill>
                    <a:srgbClr val="000000"/>
                  </a:solidFill>
                  <a:miter lim="800000"/>
                  <a:headEnd/>
                  <a:tailEnd/>
                </a14:hiddenLine>
              </a:ext>
            </a:extLst>
          </p:spPr>
          <p:txBody>
            <a:bodyPr vert="eaVert">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spcBef>
                  <a:spcPct val="50000"/>
                </a:spcBef>
              </a:pPr>
              <a:r>
                <a:rPr lang="zh-CN" altLang="en-US" b="1">
                  <a:latin typeface="微软雅黑" pitchFamily="34" charset="-122"/>
                </a:rPr>
                <a:t>成本与人力投入水平</a:t>
              </a:r>
            </a:p>
          </p:txBody>
        </p:sp>
        <p:sp>
          <p:nvSpPr>
            <p:cNvPr id="57353" name="Line 9"/>
            <p:cNvSpPr>
              <a:spLocks noChangeShapeType="1"/>
            </p:cNvSpPr>
            <p:nvPr/>
          </p:nvSpPr>
          <p:spPr bwMode="auto">
            <a:xfrm flipV="1">
              <a:off x="1456" y="595"/>
              <a:ext cx="0" cy="3000"/>
            </a:xfrm>
            <a:prstGeom prst="line">
              <a:avLst/>
            </a:prstGeom>
            <a:noFill/>
            <a:ln w="27051" cap="rnd">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57354" name="Line 10"/>
            <p:cNvSpPr>
              <a:spLocks noChangeShapeType="1"/>
            </p:cNvSpPr>
            <p:nvPr/>
          </p:nvSpPr>
          <p:spPr bwMode="auto">
            <a:xfrm flipV="1">
              <a:off x="3894" y="595"/>
              <a:ext cx="0" cy="3000"/>
            </a:xfrm>
            <a:prstGeom prst="line">
              <a:avLst/>
            </a:prstGeom>
            <a:noFill/>
            <a:ln w="27051" cap="rnd">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57355" name="Text Box 11"/>
            <p:cNvSpPr txBox="1">
              <a:spLocks noChangeArrowheads="1"/>
            </p:cNvSpPr>
            <p:nvPr/>
          </p:nvSpPr>
          <p:spPr bwMode="auto">
            <a:xfrm>
              <a:off x="738" y="1393"/>
              <a:ext cx="718" cy="294"/>
            </a:xfrm>
            <a:prstGeom prst="rect">
              <a:avLst/>
            </a:prstGeom>
            <a:solidFill>
              <a:srgbClr val="CCFFFF"/>
            </a:solidFill>
            <a:ln w="12700" cap="rnd">
              <a:solidFill>
                <a:schemeClr val="tx1"/>
              </a:solidFill>
              <a:miter lim="800000"/>
              <a:headEnd/>
              <a:tailEnd/>
            </a:ln>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zh-CN" altLang="en-US" b="1">
                  <a:latin typeface="微软雅黑" pitchFamily="34" charset="-122"/>
                </a:rPr>
                <a:t>启动项目</a:t>
              </a:r>
            </a:p>
          </p:txBody>
        </p:sp>
        <p:sp>
          <p:nvSpPr>
            <p:cNvPr id="57356" name="Text Box 12"/>
            <p:cNvSpPr txBox="1">
              <a:spLocks noChangeArrowheads="1"/>
            </p:cNvSpPr>
            <p:nvPr/>
          </p:nvSpPr>
          <p:spPr bwMode="auto">
            <a:xfrm>
              <a:off x="2304" y="720"/>
              <a:ext cx="1590" cy="294"/>
            </a:xfrm>
            <a:prstGeom prst="rect">
              <a:avLst/>
            </a:prstGeom>
            <a:solidFill>
              <a:srgbClr val="3366FF"/>
            </a:solidFill>
            <a:ln w="12700" cap="rnd">
              <a:solidFill>
                <a:schemeClr val="tx1"/>
              </a:solidFill>
              <a:miter lim="800000"/>
              <a:headEnd/>
              <a:tailEnd/>
            </a:ln>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zh-CN" altLang="en-US" b="1">
                  <a:solidFill>
                    <a:schemeClr val="bg1"/>
                  </a:solidFill>
                  <a:latin typeface="微软雅黑" pitchFamily="34" charset="-122"/>
                </a:rPr>
                <a:t>执行工作</a:t>
              </a:r>
            </a:p>
          </p:txBody>
        </p:sp>
        <p:sp>
          <p:nvSpPr>
            <p:cNvPr id="57357" name="Line 13"/>
            <p:cNvSpPr>
              <a:spLocks noChangeShapeType="1"/>
            </p:cNvSpPr>
            <p:nvPr/>
          </p:nvSpPr>
          <p:spPr bwMode="auto">
            <a:xfrm flipV="1">
              <a:off x="4850" y="595"/>
              <a:ext cx="0" cy="3000"/>
            </a:xfrm>
            <a:prstGeom prst="line">
              <a:avLst/>
            </a:prstGeom>
            <a:noFill/>
            <a:ln w="27051" cap="rnd">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57358" name="Text Box 14"/>
            <p:cNvSpPr txBox="1">
              <a:spLocks noChangeArrowheads="1"/>
            </p:cNvSpPr>
            <p:nvPr/>
          </p:nvSpPr>
          <p:spPr bwMode="auto">
            <a:xfrm>
              <a:off x="3894" y="928"/>
              <a:ext cx="956" cy="294"/>
            </a:xfrm>
            <a:prstGeom prst="rect">
              <a:avLst/>
            </a:prstGeom>
            <a:solidFill>
              <a:srgbClr val="000080"/>
            </a:solidFill>
            <a:ln w="12700" cap="rnd">
              <a:solidFill>
                <a:schemeClr val="tx1"/>
              </a:solidFill>
              <a:miter lim="800000"/>
              <a:headEnd/>
              <a:tailEnd/>
            </a:ln>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zh-CN" altLang="en-US" b="1">
                  <a:solidFill>
                    <a:schemeClr val="bg1"/>
                  </a:solidFill>
                  <a:latin typeface="微软雅黑" pitchFamily="34" charset="-122"/>
                </a:rPr>
                <a:t>结束项目</a:t>
              </a:r>
            </a:p>
          </p:txBody>
        </p:sp>
        <p:sp>
          <p:nvSpPr>
            <p:cNvPr id="57359" name="Line 15"/>
            <p:cNvSpPr>
              <a:spLocks noChangeShapeType="1"/>
            </p:cNvSpPr>
            <p:nvPr/>
          </p:nvSpPr>
          <p:spPr bwMode="auto">
            <a:xfrm flipV="1">
              <a:off x="524" y="857"/>
              <a:ext cx="0" cy="528"/>
            </a:xfrm>
            <a:prstGeom prst="line">
              <a:avLst/>
            </a:prstGeom>
            <a:noFill/>
            <a:ln w="6350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57360" name="Line 16"/>
            <p:cNvSpPr>
              <a:spLocks noChangeShapeType="1"/>
            </p:cNvSpPr>
            <p:nvPr/>
          </p:nvSpPr>
          <p:spPr bwMode="auto">
            <a:xfrm>
              <a:off x="3532" y="4001"/>
              <a:ext cx="1344" cy="0"/>
            </a:xfrm>
            <a:prstGeom prst="line">
              <a:avLst/>
            </a:prstGeom>
            <a:noFill/>
            <a:ln w="57150">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57361" name="Line 17"/>
            <p:cNvSpPr>
              <a:spLocks noChangeShapeType="1"/>
            </p:cNvSpPr>
            <p:nvPr/>
          </p:nvSpPr>
          <p:spPr bwMode="auto">
            <a:xfrm flipH="1" flipV="1">
              <a:off x="2304" y="816"/>
              <a:ext cx="6" cy="2779"/>
            </a:xfrm>
            <a:prstGeom prst="line">
              <a:avLst/>
            </a:prstGeom>
            <a:noFill/>
            <a:ln w="27051" cap="rnd">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57362" name="Text Box 18"/>
            <p:cNvSpPr txBox="1">
              <a:spLocks noChangeArrowheads="1"/>
            </p:cNvSpPr>
            <p:nvPr/>
          </p:nvSpPr>
          <p:spPr bwMode="auto">
            <a:xfrm>
              <a:off x="1440" y="1008"/>
              <a:ext cx="864" cy="294"/>
            </a:xfrm>
            <a:prstGeom prst="rect">
              <a:avLst/>
            </a:prstGeom>
            <a:solidFill>
              <a:srgbClr val="00CCFF"/>
            </a:solidFill>
            <a:ln w="12700" cap="rnd">
              <a:solidFill>
                <a:schemeClr val="tx1"/>
              </a:solidFill>
              <a:miter lim="800000"/>
              <a:headEnd/>
              <a:tailEnd/>
            </a:ln>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zh-CN" altLang="en-US" b="1">
                  <a:latin typeface="微软雅黑" pitchFamily="34" charset="-122"/>
                </a:rPr>
                <a:t>组织和准备</a:t>
              </a:r>
            </a:p>
          </p:txBody>
        </p:sp>
        <p:sp>
          <p:nvSpPr>
            <p:cNvPr id="57363" name="Text Box 19"/>
            <p:cNvSpPr txBox="1">
              <a:spLocks noChangeArrowheads="1"/>
            </p:cNvSpPr>
            <p:nvPr/>
          </p:nvSpPr>
          <p:spPr bwMode="auto">
            <a:xfrm>
              <a:off x="-74" y="3600"/>
              <a:ext cx="1127" cy="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spcBef>
                  <a:spcPct val="50000"/>
                </a:spcBef>
              </a:pPr>
              <a:r>
                <a:rPr lang="zh-CN" altLang="en-US" sz="1400" b="1">
                  <a:latin typeface="微软雅黑" pitchFamily="34" charset="-122"/>
                </a:rPr>
                <a:t>项目管理的输出</a:t>
              </a:r>
            </a:p>
          </p:txBody>
        </p:sp>
        <p:sp>
          <p:nvSpPr>
            <p:cNvPr id="57364" name="Text Box 20"/>
            <p:cNvSpPr txBox="1">
              <a:spLocks noChangeArrowheads="1"/>
            </p:cNvSpPr>
            <p:nvPr/>
          </p:nvSpPr>
          <p:spPr bwMode="auto">
            <a:xfrm>
              <a:off x="1104" y="3600"/>
              <a:ext cx="740"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spcBef>
                  <a:spcPct val="50000"/>
                </a:spcBef>
              </a:pPr>
              <a:r>
                <a:rPr lang="zh-CN" altLang="en-US" sz="1400" b="1">
                  <a:latin typeface="微软雅黑" pitchFamily="34" charset="-122"/>
                </a:rPr>
                <a:t>项目章程</a:t>
              </a:r>
            </a:p>
          </p:txBody>
        </p:sp>
        <p:sp>
          <p:nvSpPr>
            <p:cNvPr id="57365" name="Text Box 21"/>
            <p:cNvSpPr txBox="1">
              <a:spLocks noChangeArrowheads="1"/>
            </p:cNvSpPr>
            <p:nvPr/>
          </p:nvSpPr>
          <p:spPr bwMode="auto">
            <a:xfrm>
              <a:off x="1968" y="3600"/>
              <a:ext cx="1111"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spcBef>
                  <a:spcPct val="50000"/>
                </a:spcBef>
              </a:pPr>
              <a:r>
                <a:rPr lang="zh-CN" altLang="en-US" sz="1400" b="1">
                  <a:latin typeface="微软雅黑" pitchFamily="34" charset="-122"/>
                </a:rPr>
                <a:t>项目管理计划</a:t>
              </a:r>
            </a:p>
          </p:txBody>
        </p:sp>
        <p:sp>
          <p:nvSpPr>
            <p:cNvPr id="57366" name="Text Box 22"/>
            <p:cNvSpPr txBox="1">
              <a:spLocks noChangeArrowheads="1"/>
            </p:cNvSpPr>
            <p:nvPr/>
          </p:nvSpPr>
          <p:spPr bwMode="auto">
            <a:xfrm>
              <a:off x="3184" y="3600"/>
              <a:ext cx="1270"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spcBef>
                  <a:spcPct val="50000"/>
                </a:spcBef>
              </a:pPr>
              <a:r>
                <a:rPr lang="zh-CN" altLang="en-US" sz="1400" b="1">
                  <a:latin typeface="微软雅黑" pitchFamily="34" charset="-122"/>
                </a:rPr>
                <a:t>验收的可交付成果</a:t>
              </a:r>
            </a:p>
          </p:txBody>
        </p:sp>
        <p:sp>
          <p:nvSpPr>
            <p:cNvPr id="57367" name="Text Box 23"/>
            <p:cNvSpPr txBox="1">
              <a:spLocks noChangeArrowheads="1"/>
            </p:cNvSpPr>
            <p:nvPr/>
          </p:nvSpPr>
          <p:spPr bwMode="auto">
            <a:xfrm>
              <a:off x="4510" y="3600"/>
              <a:ext cx="1139" cy="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spcBef>
                  <a:spcPct val="50000"/>
                </a:spcBef>
              </a:pPr>
              <a:r>
                <a:rPr lang="zh-CN" altLang="en-US" sz="1400" b="1">
                  <a:latin typeface="微软雅黑" pitchFamily="34" charset="-122"/>
                </a:rPr>
                <a:t>存档的项目文件</a:t>
              </a:r>
            </a:p>
          </p:txBody>
        </p:sp>
      </p:grpSp>
      <p:sp>
        <p:nvSpPr>
          <p:cNvPr id="3" name="文本框 2"/>
          <p:cNvSpPr txBox="1"/>
          <p:nvPr/>
        </p:nvSpPr>
        <p:spPr>
          <a:xfrm>
            <a:off x="6932613" y="1408113"/>
            <a:ext cx="2090737" cy="3919537"/>
          </a:xfrm>
          <a:prstGeom prst="rect">
            <a:avLst/>
          </a:prstGeom>
          <a:noFill/>
        </p:spPr>
        <p:txBody>
          <a:bodyPr>
            <a:spAutoFit/>
          </a:bodyPr>
          <a:lstStyle/>
          <a:p>
            <a:pPr fontAlgn="auto">
              <a:lnSpc>
                <a:spcPct val="150000"/>
              </a:lnSpc>
              <a:spcBef>
                <a:spcPts val="1000"/>
              </a:spcBef>
              <a:spcAft>
                <a:spcPts val="0"/>
              </a:spcAft>
              <a:buClr>
                <a:srgbClr val="C00000"/>
              </a:buClr>
              <a:buFont typeface="Wingdings" panose="05000000000000000000" pitchFamily="2" charset="2"/>
              <a:buNone/>
              <a:defRPr/>
            </a:pPr>
            <a:r>
              <a:rPr lang="zh-CN" altLang="en-US" b="1" dirty="0">
                <a:solidFill>
                  <a:srgbClr val="00B050"/>
                </a:solidFill>
                <a:latin typeface="+mn-lt"/>
                <a:ea typeface="+mn-ea"/>
                <a:sym typeface="+mn-ea"/>
              </a:rPr>
              <a:t>大多数项目生命周期都具有如下特征</a:t>
            </a:r>
            <a:r>
              <a:rPr lang="en-US" altLang="zh-CN" b="1" dirty="0">
                <a:solidFill>
                  <a:srgbClr val="00B050"/>
                </a:solidFill>
                <a:latin typeface="+mn-lt"/>
                <a:ea typeface="+mn-ea"/>
                <a:sym typeface="+mn-ea"/>
              </a:rPr>
              <a:t>:</a:t>
            </a:r>
          </a:p>
          <a:p>
            <a:pPr marL="228600" fontAlgn="auto">
              <a:lnSpc>
                <a:spcPct val="150000"/>
              </a:lnSpc>
              <a:spcBef>
                <a:spcPts val="1000"/>
              </a:spcBef>
              <a:spcAft>
                <a:spcPts val="0"/>
              </a:spcAft>
              <a:buClr>
                <a:srgbClr val="C00000"/>
              </a:buClr>
              <a:buFont typeface="Wingdings" panose="05000000000000000000" pitchFamily="2" charset="2"/>
              <a:buChar char="v"/>
              <a:defRPr/>
            </a:pPr>
            <a:r>
              <a:rPr lang="zh-CN" altLang="en-US" b="1" dirty="0">
                <a:solidFill>
                  <a:srgbClr val="00B050"/>
                </a:solidFill>
                <a:latin typeface="微软雅黑" panose="020B0503020204020204" pitchFamily="34" charset="-122"/>
                <a:ea typeface="+mn-ea"/>
                <a:sym typeface="+mn-ea"/>
              </a:rPr>
              <a:t>在初始阶段，经费和人力开销较少；在中间阶段达到最高；当项目接近结束时则快速下降</a:t>
            </a:r>
          </a:p>
          <a:p>
            <a:pPr marL="228600" indent="-228600" fontAlgn="auto">
              <a:lnSpc>
                <a:spcPct val="90000"/>
              </a:lnSpc>
              <a:spcBef>
                <a:spcPts val="1000"/>
              </a:spcBef>
              <a:spcAft>
                <a:spcPts val="0"/>
              </a:spcAft>
              <a:buClr>
                <a:srgbClr val="C00000"/>
              </a:buClr>
              <a:buFont typeface="Wingdings" panose="05000000000000000000" pitchFamily="2" charset="2"/>
              <a:buChar char="v"/>
              <a:defRPr/>
            </a:pPr>
            <a:endParaRPr lang="zh-CN" altLang="en-US" b="1" dirty="0">
              <a:solidFill>
                <a:srgbClr val="00B050"/>
              </a:solidFill>
              <a:latin typeface="微软雅黑" panose="020B0503020204020204" pitchFamily="34" charset="-122"/>
              <a:ea typeface="+mn-ea"/>
              <a:sym typeface="+mn-ea"/>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Rectangle 3"/>
          <p:cNvSpPr>
            <a:spLocks noGrp="1" noChangeArrowheads="1"/>
          </p:cNvSpPr>
          <p:nvPr>
            <p:ph idx="1"/>
          </p:nvPr>
        </p:nvSpPr>
        <p:spPr>
          <a:xfrm>
            <a:off x="-104775" y="5075238"/>
            <a:ext cx="6724650" cy="512762"/>
          </a:xfrm>
        </p:spPr>
        <p:txBody>
          <a:bodyPr rtlCol="0">
            <a:normAutofit/>
          </a:bodyPr>
          <a:lstStyle/>
          <a:p>
            <a:pPr marL="609600" lvl="1" indent="0" algn="ctr" eaLnBrk="1" fontAlgn="auto" hangingPunct="1">
              <a:spcAft>
                <a:spcPts val="0"/>
              </a:spcAft>
              <a:buFont typeface="Arial" pitchFamily="34" charset="0"/>
              <a:buNone/>
              <a:defRPr/>
            </a:pPr>
            <a:r>
              <a:rPr lang="zh-CN" altLang="en-US" sz="1800" b="1" i="1" dirty="0">
                <a:solidFill>
                  <a:srgbClr val="C00000"/>
                </a:solidFill>
              </a:rPr>
              <a:t>图：随项目时间而变化的变量影响</a:t>
            </a:r>
          </a:p>
        </p:txBody>
      </p:sp>
      <p:grpSp>
        <p:nvGrpSpPr>
          <p:cNvPr id="58370" name="Group 3"/>
          <p:cNvGrpSpPr>
            <a:grpSpLocks/>
          </p:cNvGrpSpPr>
          <p:nvPr/>
        </p:nvGrpSpPr>
        <p:grpSpPr bwMode="auto">
          <a:xfrm>
            <a:off x="646113" y="1562100"/>
            <a:ext cx="5006975" cy="3581400"/>
            <a:chOff x="167" y="424"/>
            <a:chExt cx="5161" cy="3550"/>
          </a:xfrm>
        </p:grpSpPr>
        <p:sp>
          <p:nvSpPr>
            <p:cNvPr id="58371" name="Line 4"/>
            <p:cNvSpPr>
              <a:spLocks noChangeShapeType="1"/>
            </p:cNvSpPr>
            <p:nvPr/>
          </p:nvSpPr>
          <p:spPr bwMode="auto">
            <a:xfrm>
              <a:off x="738" y="3552"/>
              <a:ext cx="4590" cy="0"/>
            </a:xfrm>
            <a:prstGeom prst="line">
              <a:avLst/>
            </a:prstGeom>
            <a:noFill/>
            <a:ln w="57150">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58372" name="Line 5"/>
            <p:cNvSpPr>
              <a:spLocks noChangeShapeType="1"/>
            </p:cNvSpPr>
            <p:nvPr/>
          </p:nvSpPr>
          <p:spPr bwMode="auto">
            <a:xfrm flipV="1">
              <a:off x="738" y="528"/>
              <a:ext cx="0" cy="3067"/>
            </a:xfrm>
            <a:prstGeom prst="line">
              <a:avLst/>
            </a:prstGeom>
            <a:noFill/>
            <a:ln w="38100" cap="rnd">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58373" name="Text Box 6"/>
            <p:cNvSpPr txBox="1">
              <a:spLocks noChangeArrowheads="1"/>
            </p:cNvSpPr>
            <p:nvPr/>
          </p:nvSpPr>
          <p:spPr bwMode="auto">
            <a:xfrm>
              <a:off x="2011" y="3640"/>
              <a:ext cx="1195" cy="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6988">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spcBef>
                  <a:spcPct val="50000"/>
                </a:spcBef>
              </a:pPr>
              <a:r>
                <a:rPr lang="zh-CN" altLang="en-US" sz="1600" b="1">
                  <a:latin typeface="微软雅黑" pitchFamily="34" charset="-122"/>
                </a:rPr>
                <a:t>项目时间</a:t>
              </a:r>
            </a:p>
          </p:txBody>
        </p:sp>
        <p:sp>
          <p:nvSpPr>
            <p:cNvPr id="58374" name="Text Box 7"/>
            <p:cNvSpPr txBox="1">
              <a:spLocks noChangeArrowheads="1"/>
            </p:cNvSpPr>
            <p:nvPr/>
          </p:nvSpPr>
          <p:spPr bwMode="auto">
            <a:xfrm>
              <a:off x="167" y="3120"/>
              <a:ext cx="505"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6988">
                  <a:solidFill>
                    <a:srgbClr val="000000"/>
                  </a:solidFill>
                  <a:miter lim="800000"/>
                  <a:headEnd/>
                  <a:tailEnd/>
                </a14:hiddenLine>
              </a:ext>
            </a:extLst>
          </p:spPr>
          <p:txBody>
            <a:bodyPr vert="eaVert">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spcBef>
                  <a:spcPct val="50000"/>
                </a:spcBef>
              </a:pPr>
              <a:r>
                <a:rPr lang="zh-CN" altLang="en-US" sz="2000" b="1">
                  <a:latin typeface="微软雅黑" pitchFamily="34" charset="-122"/>
                </a:rPr>
                <a:t>低</a:t>
              </a:r>
            </a:p>
          </p:txBody>
        </p:sp>
        <p:sp>
          <p:nvSpPr>
            <p:cNvPr id="58375" name="Text Box 8"/>
            <p:cNvSpPr txBox="1">
              <a:spLocks noChangeArrowheads="1"/>
            </p:cNvSpPr>
            <p:nvPr/>
          </p:nvSpPr>
          <p:spPr bwMode="auto">
            <a:xfrm>
              <a:off x="186" y="480"/>
              <a:ext cx="505"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6988">
                  <a:solidFill>
                    <a:srgbClr val="000000"/>
                  </a:solidFill>
                  <a:miter lim="800000"/>
                  <a:headEnd/>
                  <a:tailEnd/>
                </a14:hiddenLine>
              </a:ext>
            </a:extLst>
          </p:spPr>
          <p:txBody>
            <a:bodyPr vert="eaVert">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spcBef>
                  <a:spcPct val="50000"/>
                </a:spcBef>
              </a:pPr>
              <a:r>
                <a:rPr lang="zh-CN" altLang="en-US" sz="2000" b="1">
                  <a:latin typeface="微软雅黑" pitchFamily="34" charset="-122"/>
                </a:rPr>
                <a:t>高</a:t>
              </a:r>
            </a:p>
          </p:txBody>
        </p:sp>
        <p:sp>
          <p:nvSpPr>
            <p:cNvPr id="58376" name="Freeform 9"/>
            <p:cNvSpPr>
              <a:spLocks noChangeArrowheads="1"/>
            </p:cNvSpPr>
            <p:nvPr/>
          </p:nvSpPr>
          <p:spPr bwMode="auto">
            <a:xfrm>
              <a:off x="864" y="424"/>
              <a:ext cx="4320" cy="2792"/>
            </a:xfrm>
            <a:custGeom>
              <a:avLst/>
              <a:gdLst>
                <a:gd name="T0" fmla="*/ 0 w 4416"/>
                <a:gd name="T1" fmla="*/ 3128 h 3128"/>
                <a:gd name="T2" fmla="*/ 1680 w 4416"/>
                <a:gd name="T3" fmla="*/ 2600 h 3128"/>
                <a:gd name="T4" fmla="*/ 3024 w 4416"/>
                <a:gd name="T5" fmla="*/ 1784 h 3128"/>
                <a:gd name="T6" fmla="*/ 4080 w 4416"/>
                <a:gd name="T7" fmla="*/ 296 h 3128"/>
                <a:gd name="T8" fmla="*/ 4416 w 4416"/>
                <a:gd name="T9" fmla="*/ 8 h 3128"/>
              </a:gdLst>
              <a:ahLst/>
              <a:cxnLst>
                <a:cxn ang="0">
                  <a:pos x="T0" y="T1"/>
                </a:cxn>
                <a:cxn ang="0">
                  <a:pos x="T2" y="T3"/>
                </a:cxn>
                <a:cxn ang="0">
                  <a:pos x="T4" y="T5"/>
                </a:cxn>
                <a:cxn ang="0">
                  <a:pos x="T6" y="T7"/>
                </a:cxn>
                <a:cxn ang="0">
                  <a:pos x="T8" y="T9"/>
                </a:cxn>
              </a:cxnLst>
              <a:rect l="0" t="0" r="r" b="b"/>
              <a:pathLst>
                <a:path w="4416" h="3128">
                  <a:moveTo>
                    <a:pt x="0" y="3128"/>
                  </a:moveTo>
                  <a:cubicBezTo>
                    <a:pt x="588" y="2976"/>
                    <a:pt x="1176" y="2824"/>
                    <a:pt x="1680" y="2600"/>
                  </a:cubicBezTo>
                  <a:cubicBezTo>
                    <a:pt x="2184" y="2376"/>
                    <a:pt x="2624" y="2168"/>
                    <a:pt x="3024" y="1784"/>
                  </a:cubicBezTo>
                  <a:cubicBezTo>
                    <a:pt x="3424" y="1400"/>
                    <a:pt x="3848" y="592"/>
                    <a:pt x="4080" y="296"/>
                  </a:cubicBezTo>
                  <a:cubicBezTo>
                    <a:pt x="4312" y="0"/>
                    <a:pt x="4364" y="4"/>
                    <a:pt x="4416" y="8"/>
                  </a:cubicBezTo>
                </a:path>
              </a:pathLst>
            </a:custGeom>
            <a:noFill/>
            <a:ln w="19050">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endParaRPr lang="zh-CN" altLang="en-US" b="1"/>
            </a:p>
          </p:txBody>
        </p:sp>
        <p:sp>
          <p:nvSpPr>
            <p:cNvPr id="58377" name="Freeform 10"/>
            <p:cNvSpPr>
              <a:spLocks noChangeArrowheads="1"/>
            </p:cNvSpPr>
            <p:nvPr/>
          </p:nvSpPr>
          <p:spPr bwMode="auto">
            <a:xfrm>
              <a:off x="768" y="672"/>
              <a:ext cx="4560" cy="2688"/>
            </a:xfrm>
            <a:custGeom>
              <a:avLst/>
              <a:gdLst>
                <a:gd name="T0" fmla="*/ 0 w 4608"/>
                <a:gd name="T1" fmla="*/ 0 h 2400"/>
                <a:gd name="T2" fmla="*/ 1152 w 4608"/>
                <a:gd name="T3" fmla="*/ 144 h 2400"/>
                <a:gd name="T4" fmla="*/ 2016 w 4608"/>
                <a:gd name="T5" fmla="*/ 384 h 2400"/>
                <a:gd name="T6" fmla="*/ 2736 w 4608"/>
                <a:gd name="T7" fmla="*/ 1008 h 2400"/>
                <a:gd name="T8" fmla="*/ 3504 w 4608"/>
                <a:gd name="T9" fmla="*/ 1728 h 2400"/>
                <a:gd name="T10" fmla="*/ 4176 w 4608"/>
                <a:gd name="T11" fmla="*/ 2256 h 2400"/>
                <a:gd name="T12" fmla="*/ 4608 w 4608"/>
                <a:gd name="T13" fmla="*/ 2400 h 2400"/>
              </a:gdLst>
              <a:ahLst/>
              <a:cxnLst>
                <a:cxn ang="0">
                  <a:pos x="T0" y="T1"/>
                </a:cxn>
                <a:cxn ang="0">
                  <a:pos x="T2" y="T3"/>
                </a:cxn>
                <a:cxn ang="0">
                  <a:pos x="T4" y="T5"/>
                </a:cxn>
                <a:cxn ang="0">
                  <a:pos x="T6" y="T7"/>
                </a:cxn>
                <a:cxn ang="0">
                  <a:pos x="T8" y="T9"/>
                </a:cxn>
                <a:cxn ang="0">
                  <a:pos x="T10" y="T11"/>
                </a:cxn>
                <a:cxn ang="0">
                  <a:pos x="T12" y="T13"/>
                </a:cxn>
              </a:cxnLst>
              <a:rect l="0" t="0" r="r" b="b"/>
              <a:pathLst>
                <a:path w="4608" h="2400">
                  <a:moveTo>
                    <a:pt x="0" y="0"/>
                  </a:moveTo>
                  <a:cubicBezTo>
                    <a:pt x="408" y="40"/>
                    <a:pt x="816" y="80"/>
                    <a:pt x="1152" y="144"/>
                  </a:cubicBezTo>
                  <a:cubicBezTo>
                    <a:pt x="1488" y="208"/>
                    <a:pt x="1752" y="240"/>
                    <a:pt x="2016" y="384"/>
                  </a:cubicBezTo>
                  <a:cubicBezTo>
                    <a:pt x="2280" y="528"/>
                    <a:pt x="2488" y="784"/>
                    <a:pt x="2736" y="1008"/>
                  </a:cubicBezTo>
                  <a:cubicBezTo>
                    <a:pt x="2984" y="1232"/>
                    <a:pt x="3264" y="1520"/>
                    <a:pt x="3504" y="1728"/>
                  </a:cubicBezTo>
                  <a:cubicBezTo>
                    <a:pt x="3744" y="1936"/>
                    <a:pt x="3992" y="2144"/>
                    <a:pt x="4176" y="2256"/>
                  </a:cubicBezTo>
                  <a:cubicBezTo>
                    <a:pt x="4360" y="2368"/>
                    <a:pt x="4536" y="2376"/>
                    <a:pt x="4608" y="2400"/>
                  </a:cubicBezTo>
                </a:path>
              </a:pathLst>
            </a:custGeom>
            <a:noFill/>
            <a:ln w="22225">
              <a:solidFill>
                <a:srgbClr val="0000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endParaRPr lang="zh-CN" altLang="en-US" b="1"/>
            </a:p>
          </p:txBody>
        </p:sp>
        <p:sp>
          <p:nvSpPr>
            <p:cNvPr id="58378" name="Oval 12"/>
            <p:cNvSpPr>
              <a:spLocks noChangeArrowheads="1"/>
            </p:cNvSpPr>
            <p:nvPr/>
          </p:nvSpPr>
          <p:spPr bwMode="auto">
            <a:xfrm>
              <a:off x="624" y="3456"/>
              <a:ext cx="192" cy="192"/>
            </a:xfrm>
            <a:prstGeom prst="ellipse">
              <a:avLst/>
            </a:prstGeom>
            <a:gradFill rotWithShape="1">
              <a:gsLst>
                <a:gs pos="0">
                  <a:srgbClr val="993300"/>
                </a:gs>
                <a:gs pos="100000">
                  <a:srgbClr val="4D1A00"/>
                </a:gs>
              </a:gsLst>
              <a:path path="rect">
                <a:fillToRect r="100000" b="100000"/>
              </a:path>
            </a:gradFill>
            <a:ln>
              <a:noFill/>
            </a:ln>
            <a:extLst>
              <a:ext uri="{91240B29-F687-4F45-9708-019B960494DF}">
                <a14:hiddenLine xmlns:a14="http://schemas.microsoft.com/office/drawing/2010/main" w="22225">
                  <a:solidFill>
                    <a:srgbClr val="000000"/>
                  </a:solidFill>
                  <a:round/>
                  <a:headEnd/>
                  <a:tailEnd/>
                </a14:hiddenLine>
              </a:ext>
            </a:extLst>
          </p:spPr>
          <p:txBody>
            <a:bodyPr wrap="none"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endParaRPr lang="zh-CN" altLang="en-US" b="1">
                <a:latin typeface="微软雅黑" pitchFamily="34" charset="-122"/>
              </a:endParaRPr>
            </a:p>
          </p:txBody>
        </p:sp>
        <p:sp>
          <p:nvSpPr>
            <p:cNvPr id="58379" name="Line 13"/>
            <p:cNvSpPr>
              <a:spLocks noChangeShapeType="1"/>
            </p:cNvSpPr>
            <p:nvPr/>
          </p:nvSpPr>
          <p:spPr bwMode="auto">
            <a:xfrm flipV="1">
              <a:off x="534" y="1338"/>
              <a:ext cx="0" cy="672"/>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58380" name="Text Box 14"/>
            <p:cNvSpPr txBox="1">
              <a:spLocks noChangeArrowheads="1"/>
            </p:cNvSpPr>
            <p:nvPr/>
          </p:nvSpPr>
          <p:spPr bwMode="auto">
            <a:xfrm>
              <a:off x="236" y="2106"/>
              <a:ext cx="442" cy="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spcBef>
                  <a:spcPct val="50000"/>
                </a:spcBef>
              </a:pPr>
              <a:r>
                <a:rPr lang="zh-CN" altLang="en-US" sz="1600" b="1">
                  <a:latin typeface="微软雅黑" pitchFamily="34" charset="-122"/>
                </a:rPr>
                <a:t>程度</a:t>
              </a:r>
            </a:p>
          </p:txBody>
        </p:sp>
        <p:sp>
          <p:nvSpPr>
            <p:cNvPr id="58381" name="Text Box 15"/>
            <p:cNvSpPr txBox="1">
              <a:spLocks noChangeArrowheads="1"/>
            </p:cNvSpPr>
            <p:nvPr/>
          </p:nvSpPr>
          <p:spPr bwMode="auto">
            <a:xfrm>
              <a:off x="1515" y="3025"/>
              <a:ext cx="1318" cy="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spcBef>
                  <a:spcPct val="50000"/>
                </a:spcBef>
              </a:pPr>
              <a:r>
                <a:rPr lang="zh-CN" altLang="en-US" sz="1600" b="1">
                  <a:latin typeface="微软雅黑" pitchFamily="34" charset="-122"/>
                </a:rPr>
                <a:t>变更的代价</a:t>
              </a:r>
            </a:p>
          </p:txBody>
        </p:sp>
      </p:grpSp>
      <p:sp>
        <p:nvSpPr>
          <p:cNvPr id="58382" name="Text Box 15"/>
          <p:cNvSpPr txBox="1">
            <a:spLocks noChangeArrowheads="1"/>
          </p:cNvSpPr>
          <p:nvPr/>
        </p:nvSpPr>
        <p:spPr bwMode="auto">
          <a:xfrm>
            <a:off x="1787525" y="1560513"/>
            <a:ext cx="19018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spcBef>
                <a:spcPct val="50000"/>
              </a:spcBef>
            </a:pPr>
            <a:r>
              <a:rPr lang="zh-CN" altLang="en-US" sz="1600" b="1">
                <a:latin typeface="微软雅黑" pitchFamily="34" charset="-122"/>
              </a:rPr>
              <a:t>风险与不确定性</a:t>
            </a:r>
          </a:p>
        </p:txBody>
      </p:sp>
      <p:sp>
        <p:nvSpPr>
          <p:cNvPr id="58383" name="Line 13"/>
          <p:cNvSpPr>
            <a:spLocks noChangeShapeType="1"/>
          </p:cNvSpPr>
          <p:nvPr/>
        </p:nvSpPr>
        <p:spPr bwMode="auto">
          <a:xfrm rot="5400000" flipH="1" flipV="1">
            <a:off x="1963738" y="4251325"/>
            <a:ext cx="7938" cy="1157287"/>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58384" name="文本框 18"/>
          <p:cNvSpPr txBox="1">
            <a:spLocks noChangeArrowheads="1"/>
          </p:cNvSpPr>
          <p:nvPr/>
        </p:nvSpPr>
        <p:spPr bwMode="auto">
          <a:xfrm>
            <a:off x="5805488" y="1320800"/>
            <a:ext cx="3146425" cy="441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110000"/>
              </a:lnSpc>
              <a:spcBef>
                <a:spcPts val="1000"/>
              </a:spcBef>
              <a:buClr>
                <a:srgbClr val="C00000"/>
              </a:buClr>
              <a:buFont typeface="Wingdings" pitchFamily="2" charset="2"/>
              <a:buChar char="v"/>
            </a:pPr>
            <a:r>
              <a:rPr lang="zh-CN" altLang="en-US" sz="2000">
                <a:latin typeface="微软雅黑" pitchFamily="34" charset="-122"/>
                <a:sym typeface="微软雅黑" pitchFamily="34" charset="-122"/>
              </a:rPr>
              <a:t>在项目的初始阶段，项目的不确定性最高</a:t>
            </a:r>
          </a:p>
          <a:p>
            <a:pPr>
              <a:lnSpc>
                <a:spcPct val="110000"/>
              </a:lnSpc>
              <a:spcBef>
                <a:spcPts val="1000"/>
              </a:spcBef>
              <a:buClr>
                <a:srgbClr val="C00000"/>
              </a:buClr>
              <a:buFont typeface="Wingdings" pitchFamily="2" charset="2"/>
              <a:buChar char="v"/>
            </a:pPr>
            <a:r>
              <a:rPr lang="zh-CN" altLang="en-US" sz="2000">
                <a:latin typeface="微软雅黑" pitchFamily="34" charset="-122"/>
                <a:sym typeface="微软雅黑" pitchFamily="34" charset="-122"/>
              </a:rPr>
              <a:t>在项目的初始阶段，项目干系人影响项目的最终产品特性的能力最高，这是因为初始阶段的变更成本较小</a:t>
            </a:r>
          </a:p>
          <a:p>
            <a:pPr>
              <a:lnSpc>
                <a:spcPct val="110000"/>
              </a:lnSpc>
              <a:spcBef>
                <a:spcPts val="1000"/>
              </a:spcBef>
              <a:buClr>
                <a:srgbClr val="C00000"/>
              </a:buClr>
              <a:buFont typeface="Wingdings" pitchFamily="2" charset="2"/>
              <a:buChar char="v"/>
            </a:pPr>
            <a:r>
              <a:rPr lang="zh-CN" altLang="en-US" sz="2000">
                <a:latin typeface="微软雅黑" pitchFamily="34" charset="-122"/>
                <a:sym typeface="微软雅黑" pitchFamily="34" charset="-122"/>
              </a:rPr>
              <a:t>在项目的后期阶段，变更一般会增加大量的成本，项目干系人影响项目的最终产品特征的能力逐渐变低</a:t>
            </a:r>
            <a:endParaRPr lang="zh-CN" altLang="en-US" sz="2000"/>
          </a:p>
        </p:txBody>
      </p:sp>
      <p:sp>
        <p:nvSpPr>
          <p:cNvPr id="58385" name="Rectangle 2"/>
          <p:cNvSpPr>
            <a:spLocks noGrp="1" noChangeArrowheads="1"/>
          </p:cNvSpPr>
          <p:nvPr/>
        </p:nvSpPr>
        <p:spPr bwMode="auto">
          <a:xfrm>
            <a:off x="468313" y="465138"/>
            <a:ext cx="8940800"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90000"/>
              </a:lnSpc>
            </a:pPr>
            <a:r>
              <a:rPr lang="zh-CN" altLang="en-US" sz="2700" b="1">
                <a:solidFill>
                  <a:srgbClr val="0070C0"/>
                </a:solidFill>
                <a:latin typeface="Georgia" pitchFamily="18" charset="0"/>
              </a:rPr>
              <a:t>项目生命周期及主要特征</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object 2"/>
          <p:cNvSpPr txBox="1">
            <a:spLocks noChangeArrowheads="1"/>
          </p:cNvSpPr>
          <p:nvPr/>
        </p:nvSpPr>
        <p:spPr bwMode="auto">
          <a:xfrm>
            <a:off x="279400" y="398463"/>
            <a:ext cx="711200"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zh-CN">
                <a:solidFill>
                  <a:srgbClr val="FFFFFF"/>
                </a:solidFill>
                <a:latin typeface="微软雅黑" pitchFamily="34" charset="-122"/>
              </a:rPr>
              <a:t>正文页</a:t>
            </a:r>
            <a:endParaRPr lang="zh-CN" altLang="zh-CN">
              <a:latin typeface="微软雅黑" pitchFamily="34" charset="-122"/>
            </a:endParaRPr>
          </a:p>
        </p:txBody>
      </p:sp>
      <p:graphicFrame>
        <p:nvGraphicFramePr>
          <p:cNvPr id="5" name="object 5"/>
          <p:cNvGraphicFramePr>
            <a:graphicFrameLocks noGrp="1"/>
          </p:cNvGraphicFramePr>
          <p:nvPr>
            <p:extLst>
              <p:ext uri="{D42A27DB-BD31-4B8C-83A1-F6EECF244321}">
                <p14:modId xmlns:p14="http://schemas.microsoft.com/office/powerpoint/2010/main" val="4065361761"/>
              </p:ext>
            </p:extLst>
          </p:nvPr>
        </p:nvGraphicFramePr>
        <p:xfrm>
          <a:off x="738188" y="1393825"/>
          <a:ext cx="7953375" cy="3524250"/>
        </p:xfrm>
        <a:graphic>
          <a:graphicData uri="http://schemas.openxmlformats.org/drawingml/2006/table">
            <a:tbl>
              <a:tblPr firstRow="1" bandRow="1">
                <a:tableStyleId>{2D5ABB26-0587-4C30-8999-92F81FD0307C}</a:tableStyleId>
              </a:tblPr>
              <a:tblGrid>
                <a:gridCol w="2495373"/>
                <a:gridCol w="1745073"/>
                <a:gridCol w="1936690"/>
                <a:gridCol w="1776239"/>
              </a:tblGrid>
              <a:tr h="635154">
                <a:tc>
                  <a:txBody>
                    <a:bodyPr/>
                    <a:lstStyle/>
                    <a:p>
                      <a:pPr algn="ctr">
                        <a:lnSpc>
                          <a:spcPct val="100000"/>
                        </a:lnSpc>
                        <a:spcBef>
                          <a:spcPts val="1390"/>
                        </a:spcBef>
                      </a:pPr>
                      <a:r>
                        <a:rPr sz="2000" b="1" spc="-5" dirty="0">
                          <a:solidFill>
                            <a:srgbClr val="FFFFFF"/>
                          </a:solidFill>
                          <a:latin typeface="微软雅黑" panose="020B0503020204020204" pitchFamily="34" charset="-122"/>
                          <a:cs typeface="微软雅黑" panose="020B0503020204020204" pitchFamily="34" charset="-122"/>
                        </a:rPr>
                        <a:t>项目管理要素</a:t>
                      </a:r>
                    </a:p>
                  </a:txBody>
                  <a:tcPr marL="0" marR="0" marT="0" marB="0" anchor="ctr">
                    <a:lnL w="12700">
                      <a:solidFill>
                        <a:srgbClr val="000000"/>
                      </a:solidFill>
                      <a:prstDash val="solid"/>
                    </a:lnL>
                    <a:lnR w="12700">
                      <a:solidFill>
                        <a:srgbClr val="000000"/>
                      </a:solidFill>
                      <a:prstDash val="solid"/>
                    </a:lnR>
                    <a:lnT w="12700">
                      <a:solidFill>
                        <a:srgbClr val="000000"/>
                      </a:solidFill>
                      <a:prstDash val="solid"/>
                    </a:lnT>
                    <a:lnB w="25400">
                      <a:solidFill>
                        <a:srgbClr val="000000"/>
                      </a:solidFill>
                      <a:prstDash val="solid"/>
                    </a:lnB>
                    <a:solidFill>
                      <a:srgbClr val="0070C0"/>
                    </a:solidFill>
                  </a:tcPr>
                </a:tc>
                <a:tc>
                  <a:txBody>
                    <a:bodyPr/>
                    <a:lstStyle/>
                    <a:p>
                      <a:pPr algn="ctr">
                        <a:lnSpc>
                          <a:spcPct val="100000"/>
                        </a:lnSpc>
                        <a:spcBef>
                          <a:spcPts val="1390"/>
                        </a:spcBef>
                      </a:pPr>
                      <a:r>
                        <a:rPr sz="2000" b="1" i="1" spc="-5" dirty="0">
                          <a:solidFill>
                            <a:srgbClr val="FFFFFF"/>
                          </a:solidFill>
                          <a:latin typeface="微软雅黑" panose="020B0503020204020204" pitchFamily="34" charset="-122"/>
                          <a:cs typeface="微软雅黑" panose="020B0503020204020204" pitchFamily="34" charset="-122"/>
                        </a:rPr>
                        <a:t>开始</a:t>
                      </a:r>
                      <a:endParaRPr sz="2000">
                        <a:latin typeface="微软雅黑" panose="020B0503020204020204" pitchFamily="34" charset="-122"/>
                        <a:cs typeface="微软雅黑" panose="020B0503020204020204" pitchFamily="34" charset="-122"/>
                      </a:endParaRPr>
                    </a:p>
                  </a:txBody>
                  <a:tcPr marL="0" marR="0" marT="0" marB="0" anchor="ctr">
                    <a:lnL w="12700">
                      <a:solidFill>
                        <a:srgbClr val="000000"/>
                      </a:solidFill>
                      <a:prstDash val="solid"/>
                    </a:lnL>
                    <a:lnR w="12700">
                      <a:solidFill>
                        <a:srgbClr val="000000"/>
                      </a:solidFill>
                      <a:prstDash val="solid"/>
                    </a:lnR>
                    <a:lnT w="12700">
                      <a:solidFill>
                        <a:srgbClr val="000000"/>
                      </a:solidFill>
                      <a:prstDash val="solid"/>
                    </a:lnT>
                    <a:lnB w="25400">
                      <a:solidFill>
                        <a:srgbClr val="000000"/>
                      </a:solidFill>
                      <a:prstDash val="solid"/>
                    </a:lnB>
                    <a:solidFill>
                      <a:srgbClr val="0070C0"/>
                    </a:solidFill>
                  </a:tcPr>
                </a:tc>
                <a:tc>
                  <a:txBody>
                    <a:bodyPr/>
                    <a:lstStyle/>
                    <a:p>
                      <a:pPr algn="ctr">
                        <a:lnSpc>
                          <a:spcPct val="100000"/>
                        </a:lnSpc>
                        <a:spcBef>
                          <a:spcPts val="1390"/>
                        </a:spcBef>
                      </a:pPr>
                      <a:r>
                        <a:rPr sz="2000" b="1" i="1" spc="-5" dirty="0">
                          <a:solidFill>
                            <a:srgbClr val="FFFFFF"/>
                          </a:solidFill>
                          <a:latin typeface="微软雅黑" panose="020B0503020204020204" pitchFamily="34" charset="-122"/>
                          <a:cs typeface="微软雅黑" panose="020B0503020204020204" pitchFamily="34" charset="-122"/>
                        </a:rPr>
                        <a:t>执行阶段</a:t>
                      </a:r>
                    </a:p>
                  </a:txBody>
                  <a:tcPr marL="0" marR="0" marT="0" marB="0" anchor="ctr">
                    <a:lnL w="12700">
                      <a:solidFill>
                        <a:srgbClr val="000000"/>
                      </a:solidFill>
                      <a:prstDash val="solid"/>
                    </a:lnL>
                    <a:lnR w="12700">
                      <a:solidFill>
                        <a:srgbClr val="000000"/>
                      </a:solidFill>
                      <a:prstDash val="solid"/>
                    </a:lnR>
                    <a:lnT w="12700">
                      <a:solidFill>
                        <a:srgbClr val="000000"/>
                      </a:solidFill>
                      <a:prstDash val="solid"/>
                    </a:lnT>
                    <a:lnB w="25400">
                      <a:solidFill>
                        <a:srgbClr val="000000"/>
                      </a:solidFill>
                      <a:prstDash val="solid"/>
                    </a:lnB>
                    <a:solidFill>
                      <a:srgbClr val="0070C0"/>
                    </a:solidFill>
                  </a:tcPr>
                </a:tc>
                <a:tc>
                  <a:txBody>
                    <a:bodyPr/>
                    <a:lstStyle/>
                    <a:p>
                      <a:pPr algn="ctr">
                        <a:lnSpc>
                          <a:spcPct val="100000"/>
                        </a:lnSpc>
                        <a:spcBef>
                          <a:spcPts val="1390"/>
                        </a:spcBef>
                      </a:pPr>
                      <a:r>
                        <a:rPr sz="2000" b="1" i="1" spc="-5" dirty="0">
                          <a:solidFill>
                            <a:srgbClr val="FFFFFF"/>
                          </a:solidFill>
                          <a:latin typeface="微软雅黑" panose="020B0503020204020204" pitchFamily="34" charset="-122"/>
                          <a:cs typeface="微软雅黑" panose="020B0503020204020204" pitchFamily="34" charset="-122"/>
                        </a:rPr>
                        <a:t>结束</a:t>
                      </a:r>
                      <a:endParaRPr sz="2000">
                        <a:latin typeface="微软雅黑" panose="020B0503020204020204" pitchFamily="34" charset="-122"/>
                        <a:cs typeface="微软雅黑" panose="020B0503020204020204" pitchFamily="34" charset="-122"/>
                      </a:endParaRPr>
                    </a:p>
                  </a:txBody>
                  <a:tcPr marL="0" marR="0" marT="0" marB="0" anchor="ctr">
                    <a:lnL w="12700">
                      <a:solidFill>
                        <a:srgbClr val="000000"/>
                      </a:solidFill>
                      <a:prstDash val="solid"/>
                    </a:lnL>
                    <a:lnR w="12700">
                      <a:solidFill>
                        <a:srgbClr val="000000"/>
                      </a:solidFill>
                      <a:prstDash val="solid"/>
                    </a:lnR>
                    <a:lnT w="12700">
                      <a:solidFill>
                        <a:srgbClr val="000000"/>
                      </a:solidFill>
                      <a:prstDash val="solid"/>
                    </a:lnT>
                    <a:lnB w="25400">
                      <a:solidFill>
                        <a:srgbClr val="000000"/>
                      </a:solidFill>
                      <a:prstDash val="solid"/>
                    </a:lnB>
                    <a:solidFill>
                      <a:srgbClr val="0070C0"/>
                    </a:solidFill>
                  </a:tcPr>
                </a:tc>
              </a:tr>
              <a:tr h="797568">
                <a:tc>
                  <a:txBody>
                    <a:bodyPr/>
                    <a:lstStyle/>
                    <a:p>
                      <a:pPr marL="0" marR="647065" indent="0" algn="ctr" fontAlgn="auto">
                        <a:lnSpc>
                          <a:spcPct val="100000"/>
                        </a:lnSpc>
                        <a:spcBef>
                          <a:spcPts val="95"/>
                        </a:spcBef>
                      </a:pPr>
                      <a:r>
                        <a:rPr sz="1800" b="1" kern="1200" dirty="0">
                          <a:solidFill>
                            <a:schemeClr val="tx1"/>
                          </a:solidFill>
                          <a:latin typeface="微软雅黑" panose="020B0503020204020204" pitchFamily="34" charset="-122"/>
                          <a:ea typeface="+mn-ea"/>
                          <a:cs typeface="微软雅黑" panose="020B0503020204020204" pitchFamily="34" charset="-122"/>
                        </a:rPr>
                        <a:t>人力、成本 </a:t>
                      </a:r>
                    </a:p>
                  </a:txBody>
                  <a:tcPr marL="0" marR="0" marT="0" marB="0" anchor="ctr">
                    <a:lnL w="12700">
                      <a:solidFill>
                        <a:srgbClr val="000000"/>
                      </a:solidFill>
                      <a:prstDash val="solid"/>
                    </a:lnL>
                    <a:lnR w="12700">
                      <a:solidFill>
                        <a:srgbClr val="000000"/>
                      </a:solidFill>
                      <a:prstDash val="solid"/>
                    </a:lnR>
                    <a:lnT w="25400">
                      <a:solidFill>
                        <a:srgbClr val="000000"/>
                      </a:solidFill>
                      <a:prstDash val="solid"/>
                    </a:lnT>
                    <a:lnB w="12700">
                      <a:solidFill>
                        <a:srgbClr val="000000"/>
                      </a:solidFill>
                      <a:prstDash val="solid"/>
                    </a:lnB>
                  </a:tcPr>
                </a:tc>
                <a:tc>
                  <a:txBody>
                    <a:bodyPr/>
                    <a:lstStyle/>
                    <a:p>
                      <a:pPr algn="ctr">
                        <a:lnSpc>
                          <a:spcPct val="100000"/>
                        </a:lnSpc>
                        <a:spcBef>
                          <a:spcPts val="35"/>
                        </a:spcBef>
                      </a:pPr>
                      <a:endParaRPr sz="1800" b="1">
                        <a:latin typeface="Times New Roman" panose="02020603050405020304"/>
                        <a:cs typeface="Times New Roman" panose="02020603050405020304"/>
                      </a:endParaRPr>
                    </a:p>
                    <a:p>
                      <a:pPr algn="ctr">
                        <a:lnSpc>
                          <a:spcPct val="100000"/>
                        </a:lnSpc>
                      </a:pPr>
                      <a:r>
                        <a:rPr sz="1800" b="1" dirty="0">
                          <a:latin typeface="微软雅黑" panose="020B0503020204020204" pitchFamily="34" charset="-122"/>
                          <a:cs typeface="微软雅黑" panose="020B0503020204020204" pitchFamily="34" charset="-122"/>
                        </a:rPr>
                        <a:t>较低</a:t>
                      </a:r>
                      <a:endParaRPr sz="1800" b="1">
                        <a:latin typeface="微软雅黑" panose="020B0503020204020204" pitchFamily="34" charset="-122"/>
                        <a:cs typeface="微软雅黑" panose="020B0503020204020204" pitchFamily="34" charset="-122"/>
                      </a:endParaRPr>
                    </a:p>
                  </a:txBody>
                  <a:tcPr marL="0" marR="0" marT="0" marB="0" anchor="ctr">
                    <a:lnL w="12700">
                      <a:solidFill>
                        <a:srgbClr val="000000"/>
                      </a:solidFill>
                      <a:prstDash val="solid"/>
                    </a:lnL>
                    <a:lnR w="12700">
                      <a:solidFill>
                        <a:srgbClr val="000000"/>
                      </a:solidFill>
                      <a:prstDash val="solid"/>
                    </a:lnR>
                    <a:lnT w="25400">
                      <a:solidFill>
                        <a:srgbClr val="000000"/>
                      </a:solidFill>
                      <a:prstDash val="solid"/>
                    </a:lnT>
                    <a:lnB w="12700">
                      <a:solidFill>
                        <a:srgbClr val="000000"/>
                      </a:solidFill>
                      <a:prstDash val="solid"/>
                    </a:lnB>
                  </a:tcPr>
                </a:tc>
                <a:tc>
                  <a:txBody>
                    <a:bodyPr/>
                    <a:lstStyle/>
                    <a:p>
                      <a:pPr algn="ctr">
                        <a:lnSpc>
                          <a:spcPct val="100000"/>
                        </a:lnSpc>
                        <a:spcBef>
                          <a:spcPts val="35"/>
                        </a:spcBef>
                      </a:pPr>
                      <a:endParaRPr sz="1800" b="1">
                        <a:latin typeface="Times New Roman" panose="02020603050405020304"/>
                        <a:cs typeface="Times New Roman" panose="02020603050405020304"/>
                      </a:endParaRPr>
                    </a:p>
                    <a:p>
                      <a:pPr algn="ctr">
                        <a:lnSpc>
                          <a:spcPct val="100000"/>
                        </a:lnSpc>
                      </a:pPr>
                      <a:r>
                        <a:rPr sz="1800" b="1" dirty="0">
                          <a:latin typeface="微软雅黑" panose="020B0503020204020204" pitchFamily="34" charset="-122"/>
                          <a:cs typeface="微软雅黑" panose="020B0503020204020204" pitchFamily="34" charset="-122"/>
                        </a:rPr>
                        <a:t>逐渐升高</a:t>
                      </a:r>
                      <a:endParaRPr sz="1800" b="1">
                        <a:latin typeface="微软雅黑" panose="020B0503020204020204" pitchFamily="34" charset="-122"/>
                        <a:cs typeface="微软雅黑" panose="020B0503020204020204" pitchFamily="34" charset="-122"/>
                      </a:endParaRPr>
                    </a:p>
                  </a:txBody>
                  <a:tcPr marL="0" marR="0" marT="0" marB="0" anchor="ctr">
                    <a:lnL w="12700">
                      <a:solidFill>
                        <a:srgbClr val="000000"/>
                      </a:solidFill>
                      <a:prstDash val="solid"/>
                    </a:lnL>
                    <a:lnR w="12700">
                      <a:solidFill>
                        <a:srgbClr val="000000"/>
                      </a:solidFill>
                      <a:prstDash val="solid"/>
                    </a:lnR>
                    <a:lnT w="25400">
                      <a:solidFill>
                        <a:srgbClr val="000000"/>
                      </a:solidFill>
                      <a:prstDash val="solid"/>
                    </a:lnT>
                    <a:lnB w="12700">
                      <a:solidFill>
                        <a:srgbClr val="000000"/>
                      </a:solidFill>
                      <a:prstDash val="solid"/>
                    </a:lnB>
                  </a:tcPr>
                </a:tc>
                <a:tc>
                  <a:txBody>
                    <a:bodyPr/>
                    <a:lstStyle/>
                    <a:p>
                      <a:pPr algn="ctr">
                        <a:lnSpc>
                          <a:spcPct val="100000"/>
                        </a:lnSpc>
                        <a:spcBef>
                          <a:spcPts val="35"/>
                        </a:spcBef>
                      </a:pPr>
                      <a:endParaRPr sz="1800" b="1">
                        <a:latin typeface="Times New Roman" panose="02020603050405020304"/>
                        <a:cs typeface="Times New Roman" panose="02020603050405020304"/>
                      </a:endParaRPr>
                    </a:p>
                    <a:p>
                      <a:pPr marL="635" algn="ctr">
                        <a:lnSpc>
                          <a:spcPct val="100000"/>
                        </a:lnSpc>
                      </a:pPr>
                      <a:r>
                        <a:rPr sz="1800" b="1" dirty="0">
                          <a:latin typeface="微软雅黑" panose="020B0503020204020204" pitchFamily="34" charset="-122"/>
                          <a:cs typeface="微软雅黑" panose="020B0503020204020204" pitchFamily="34" charset="-122"/>
                        </a:rPr>
                        <a:t>迅速下降</a:t>
                      </a:r>
                      <a:endParaRPr sz="1800" b="1">
                        <a:latin typeface="微软雅黑" panose="020B0503020204020204" pitchFamily="34" charset="-122"/>
                        <a:cs typeface="微软雅黑" panose="020B0503020204020204" pitchFamily="34" charset="-122"/>
                      </a:endParaRPr>
                    </a:p>
                  </a:txBody>
                  <a:tcPr marL="0" marR="0" marT="0" marB="0" anchor="ctr">
                    <a:lnL w="12700">
                      <a:solidFill>
                        <a:srgbClr val="000000"/>
                      </a:solidFill>
                      <a:prstDash val="solid"/>
                    </a:lnL>
                    <a:lnR w="12700">
                      <a:solidFill>
                        <a:srgbClr val="000000"/>
                      </a:solidFill>
                      <a:prstDash val="solid"/>
                    </a:lnR>
                    <a:lnT w="25400">
                      <a:solidFill>
                        <a:srgbClr val="000000"/>
                      </a:solidFill>
                      <a:prstDash val="solid"/>
                    </a:lnT>
                    <a:lnB w="12700">
                      <a:solidFill>
                        <a:srgbClr val="000000"/>
                      </a:solidFill>
                      <a:prstDash val="solid"/>
                    </a:lnB>
                  </a:tcPr>
                </a:tc>
              </a:tr>
              <a:tr h="646851">
                <a:tc>
                  <a:txBody>
                    <a:bodyPr/>
                    <a:lstStyle/>
                    <a:p>
                      <a:pPr indent="0" algn="ctr" fontAlgn="auto">
                        <a:lnSpc>
                          <a:spcPct val="100000"/>
                        </a:lnSpc>
                        <a:spcBef>
                          <a:spcPts val="20"/>
                        </a:spcBef>
                      </a:pPr>
                      <a:endParaRPr sz="1800" b="1" kern="1200">
                        <a:solidFill>
                          <a:schemeClr val="tx1"/>
                        </a:solidFill>
                        <a:latin typeface="微软雅黑" panose="020B0503020204020204" pitchFamily="34" charset="-122"/>
                        <a:ea typeface="+mn-ea"/>
                        <a:cs typeface="微软雅黑" panose="020B0503020204020204" pitchFamily="34" charset="-122"/>
                      </a:endParaRPr>
                    </a:p>
                    <a:p>
                      <a:pPr indent="0" algn="ctr" fontAlgn="auto">
                        <a:lnSpc>
                          <a:spcPct val="100000"/>
                        </a:lnSpc>
                      </a:pPr>
                      <a:r>
                        <a:rPr lang="zh-CN" altLang="en-US" sz="1800" b="1" kern="1200" smtClean="0">
                          <a:solidFill>
                            <a:schemeClr val="tx1"/>
                          </a:solidFill>
                          <a:latin typeface="微软雅黑" panose="020B0503020204020204" pitchFamily="34" charset="-122"/>
                          <a:ea typeface="+mn-ea"/>
                          <a:cs typeface="微软雅黑" panose="020B0503020204020204" pitchFamily="34" charset="-122"/>
                        </a:rPr>
                        <a:t>干系人</a:t>
                      </a:r>
                      <a:r>
                        <a:rPr sz="1800" b="1" kern="1200" smtClean="0">
                          <a:solidFill>
                            <a:schemeClr val="tx1"/>
                          </a:solidFill>
                          <a:latin typeface="微软雅黑" panose="020B0503020204020204" pitchFamily="34" charset="-122"/>
                          <a:ea typeface="+mn-ea"/>
                          <a:cs typeface="微软雅黑" panose="020B0503020204020204" pitchFamily="34" charset="-122"/>
                        </a:rPr>
                        <a:t>的作用与影响</a:t>
                      </a:r>
                      <a:endParaRPr sz="1800" b="1" kern="1200">
                        <a:solidFill>
                          <a:schemeClr val="tx1"/>
                        </a:solidFill>
                        <a:latin typeface="微软雅黑" panose="020B0503020204020204" pitchFamily="34" charset="-122"/>
                        <a:ea typeface="+mn-ea"/>
                        <a:cs typeface="微软雅黑" panose="020B0503020204020204" pitchFamily="34" charset="-122"/>
                      </a:endParaRPr>
                    </a:p>
                  </a:txBody>
                  <a:tcPr marL="0" marR="0" marT="0"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ct val="100000"/>
                        </a:lnSpc>
                        <a:spcBef>
                          <a:spcPts val="1565"/>
                        </a:spcBef>
                      </a:pPr>
                      <a:r>
                        <a:rPr sz="1800" b="1" dirty="0">
                          <a:latin typeface="微软雅黑" panose="020B0503020204020204" pitchFamily="34" charset="-122"/>
                          <a:cs typeface="微软雅黑" panose="020B0503020204020204" pitchFamily="34" charset="-122"/>
                        </a:rPr>
                        <a:t>最高</a:t>
                      </a:r>
                    </a:p>
                  </a:txBody>
                  <a:tcPr marL="0" marR="0" marT="0"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ct val="100000"/>
                        </a:lnSpc>
                        <a:spcBef>
                          <a:spcPts val="1565"/>
                        </a:spcBef>
                      </a:pPr>
                      <a:r>
                        <a:rPr sz="1800" b="1" dirty="0">
                          <a:latin typeface="微软雅黑" panose="020B0503020204020204" pitchFamily="34" charset="-122"/>
                          <a:cs typeface="微软雅黑" panose="020B0503020204020204" pitchFamily="34" charset="-122"/>
                        </a:rPr>
                        <a:t>逐渐降低</a:t>
                      </a:r>
                    </a:p>
                  </a:txBody>
                  <a:tcPr marL="0" marR="0" marT="0"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ct val="100000"/>
                        </a:lnSpc>
                        <a:spcBef>
                          <a:spcPts val="1565"/>
                        </a:spcBef>
                      </a:pPr>
                      <a:r>
                        <a:rPr sz="1800" b="1" dirty="0">
                          <a:latin typeface="微软雅黑" panose="020B0503020204020204" pitchFamily="34" charset="-122"/>
                          <a:cs typeface="微软雅黑" panose="020B0503020204020204" pitchFamily="34" charset="-122"/>
                        </a:rPr>
                        <a:t>最低</a:t>
                      </a:r>
                    </a:p>
                  </a:txBody>
                  <a:tcPr marL="0" marR="0" marT="0"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r>
              <a:tr h="647108">
                <a:tc>
                  <a:txBody>
                    <a:bodyPr/>
                    <a:lstStyle/>
                    <a:p>
                      <a:pPr indent="0" algn="ctr" fontAlgn="auto">
                        <a:lnSpc>
                          <a:spcPct val="100000"/>
                        </a:lnSpc>
                        <a:spcBef>
                          <a:spcPts val="15"/>
                        </a:spcBef>
                      </a:pPr>
                      <a:endParaRPr sz="1800" b="1" kern="1200">
                        <a:solidFill>
                          <a:schemeClr val="tx1"/>
                        </a:solidFill>
                        <a:latin typeface="微软雅黑" panose="020B0503020204020204" pitchFamily="34" charset="-122"/>
                        <a:ea typeface="+mn-ea"/>
                        <a:cs typeface="微软雅黑" panose="020B0503020204020204" pitchFamily="34" charset="-122"/>
                      </a:endParaRPr>
                    </a:p>
                    <a:p>
                      <a:pPr marL="635" indent="0" algn="ctr" fontAlgn="auto">
                        <a:lnSpc>
                          <a:spcPct val="100000"/>
                        </a:lnSpc>
                      </a:pPr>
                      <a:r>
                        <a:rPr sz="1800" b="1" kern="1200" dirty="0">
                          <a:solidFill>
                            <a:schemeClr val="tx1"/>
                          </a:solidFill>
                          <a:latin typeface="微软雅黑" panose="020B0503020204020204" pitchFamily="34" charset="-122"/>
                          <a:ea typeface="+mn-ea"/>
                          <a:cs typeface="微软雅黑" panose="020B0503020204020204" pitchFamily="34" charset="-122"/>
                        </a:rPr>
                        <a:t>风险、不确定性</a:t>
                      </a:r>
                      <a:endParaRPr sz="1800" b="1" kern="1200">
                        <a:solidFill>
                          <a:schemeClr val="tx1"/>
                        </a:solidFill>
                        <a:latin typeface="微软雅黑" panose="020B0503020204020204" pitchFamily="34" charset="-122"/>
                        <a:ea typeface="+mn-ea"/>
                        <a:cs typeface="微软雅黑" panose="020B0503020204020204" pitchFamily="34" charset="-122"/>
                      </a:endParaRPr>
                    </a:p>
                  </a:txBody>
                  <a:tcPr marL="0" marR="0" marT="0"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ct val="100000"/>
                        </a:lnSpc>
                        <a:spcBef>
                          <a:spcPts val="1565"/>
                        </a:spcBef>
                      </a:pPr>
                      <a:r>
                        <a:rPr sz="1800" b="1" dirty="0">
                          <a:latin typeface="微软雅黑" panose="020B0503020204020204" pitchFamily="34" charset="-122"/>
                          <a:cs typeface="微软雅黑" panose="020B0503020204020204" pitchFamily="34" charset="-122"/>
                        </a:rPr>
                        <a:t>最高</a:t>
                      </a:r>
                    </a:p>
                  </a:txBody>
                  <a:tcPr marL="0" marR="0" marT="0"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1270" algn="ctr">
                        <a:lnSpc>
                          <a:spcPct val="100000"/>
                        </a:lnSpc>
                        <a:spcBef>
                          <a:spcPts val="1565"/>
                        </a:spcBef>
                      </a:pPr>
                      <a:r>
                        <a:rPr sz="1800" b="1" dirty="0">
                          <a:latin typeface="微软雅黑" panose="020B0503020204020204" pitchFamily="34" charset="-122"/>
                          <a:cs typeface="微软雅黑" panose="020B0503020204020204" pitchFamily="34" charset="-122"/>
                        </a:rPr>
                        <a:t>逐渐降低</a:t>
                      </a:r>
                    </a:p>
                  </a:txBody>
                  <a:tcPr marL="0" marR="0" marT="0"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1270" algn="ctr">
                        <a:lnSpc>
                          <a:spcPct val="100000"/>
                        </a:lnSpc>
                        <a:spcBef>
                          <a:spcPts val="1565"/>
                        </a:spcBef>
                      </a:pPr>
                      <a:r>
                        <a:rPr sz="1800" b="1" dirty="0">
                          <a:latin typeface="微软雅黑" panose="020B0503020204020204" pitchFamily="34" charset="-122"/>
                          <a:cs typeface="微软雅黑" panose="020B0503020204020204" pitchFamily="34" charset="-122"/>
                        </a:rPr>
                        <a:t>最低</a:t>
                      </a:r>
                    </a:p>
                  </a:txBody>
                  <a:tcPr marL="0" marR="0" marT="0"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r>
              <a:tr h="797569">
                <a:tc>
                  <a:txBody>
                    <a:bodyPr/>
                    <a:lstStyle/>
                    <a:p>
                      <a:pPr marL="655955" marR="646430" indent="0" algn="l" fontAlgn="auto">
                        <a:lnSpc>
                          <a:spcPct val="100000"/>
                        </a:lnSpc>
                        <a:spcBef>
                          <a:spcPts val="145"/>
                        </a:spcBef>
                      </a:pPr>
                      <a:r>
                        <a:rPr lang="zh-CN" sz="1800" b="1" kern="1200" dirty="0">
                          <a:solidFill>
                            <a:schemeClr val="tx1"/>
                          </a:solidFill>
                          <a:latin typeface="微软雅黑" panose="020B0503020204020204" pitchFamily="34" charset="-122"/>
                          <a:ea typeface="+mn-ea"/>
                          <a:cs typeface="微软雅黑" panose="020B0503020204020204" pitchFamily="34" charset="-122"/>
                        </a:rPr>
                        <a:t>风险</a:t>
                      </a:r>
                      <a:r>
                        <a:rPr lang="zh-CN" sz="1800" b="1" kern="1200">
                          <a:solidFill>
                            <a:schemeClr val="tx1"/>
                          </a:solidFill>
                          <a:latin typeface="微软雅黑" panose="020B0503020204020204" pitchFamily="34" charset="-122"/>
                          <a:ea typeface="+mn-ea"/>
                          <a:cs typeface="微软雅黑" panose="020B0503020204020204" pitchFamily="34" charset="-122"/>
                        </a:rPr>
                        <a:t>的</a:t>
                      </a:r>
                      <a:r>
                        <a:rPr lang="zh-CN" sz="1800" b="1" kern="1200" smtClean="0">
                          <a:solidFill>
                            <a:schemeClr val="tx1"/>
                          </a:solidFill>
                          <a:latin typeface="微软雅黑" panose="020B0503020204020204" pitchFamily="34" charset="-122"/>
                          <a:ea typeface="+mn-ea"/>
                          <a:cs typeface="微软雅黑" panose="020B0503020204020204" pitchFamily="34" charset="-122"/>
                        </a:rPr>
                        <a:t>影响</a:t>
                      </a:r>
                      <a:endParaRPr lang="zh-CN" sz="1800" b="1" kern="1200" dirty="0">
                        <a:solidFill>
                          <a:schemeClr val="tx1"/>
                        </a:solidFill>
                        <a:latin typeface="微软雅黑" panose="020B0503020204020204" pitchFamily="34" charset="-122"/>
                        <a:ea typeface="+mn-ea"/>
                        <a:cs typeface="微软雅黑" panose="020B0503020204020204" pitchFamily="34" charset="-122"/>
                      </a:endParaRPr>
                    </a:p>
                  </a:txBody>
                  <a:tcPr marL="0" marR="0" marT="0" marB="0" anchor="ctr">
                    <a:lnL w="12700">
                      <a:solidFill>
                        <a:srgbClr val="000000"/>
                      </a:solidFill>
                      <a:prstDash val="solid"/>
                    </a:lnL>
                    <a:lnR w="12700">
                      <a:solidFill>
                        <a:srgbClr val="000000"/>
                      </a:solidFill>
                      <a:prstDash val="solid"/>
                    </a:lnR>
                    <a:lnT w="12700">
                      <a:solidFill>
                        <a:srgbClr val="000000"/>
                      </a:solidFill>
                      <a:prstDash val="solid"/>
                    </a:lnT>
                    <a:lnB w="12699">
                      <a:solidFill>
                        <a:srgbClr val="000000"/>
                      </a:solidFill>
                      <a:prstDash val="solid"/>
                    </a:lnB>
                  </a:tcPr>
                </a:tc>
                <a:tc>
                  <a:txBody>
                    <a:bodyPr/>
                    <a:lstStyle/>
                    <a:p>
                      <a:pPr algn="ctr">
                        <a:lnSpc>
                          <a:spcPct val="100000"/>
                        </a:lnSpc>
                        <a:spcBef>
                          <a:spcPts val="25"/>
                        </a:spcBef>
                      </a:pPr>
                      <a:r>
                        <a:rPr sz="1800" b="1" dirty="0">
                          <a:latin typeface="微软雅黑" panose="020B0503020204020204" pitchFamily="34" charset="-122"/>
                          <a:cs typeface="微软雅黑" panose="020B0503020204020204" pitchFamily="34" charset="-122"/>
                        </a:rPr>
                        <a:t>最低</a:t>
                      </a:r>
                    </a:p>
                  </a:txBody>
                  <a:tcPr marL="0" marR="0" marT="0" marB="0" anchor="ctr">
                    <a:lnL w="12700">
                      <a:solidFill>
                        <a:srgbClr val="000000"/>
                      </a:solidFill>
                      <a:prstDash val="solid"/>
                    </a:lnL>
                    <a:lnR w="12700">
                      <a:solidFill>
                        <a:srgbClr val="000000"/>
                      </a:solidFill>
                      <a:prstDash val="solid"/>
                    </a:lnR>
                    <a:lnT w="12700">
                      <a:solidFill>
                        <a:srgbClr val="000000"/>
                      </a:solidFill>
                      <a:prstDash val="solid"/>
                    </a:lnT>
                    <a:lnB w="12699">
                      <a:solidFill>
                        <a:srgbClr val="000000"/>
                      </a:solidFill>
                      <a:prstDash val="solid"/>
                    </a:lnB>
                  </a:tcPr>
                </a:tc>
                <a:tc>
                  <a:txBody>
                    <a:bodyPr/>
                    <a:lstStyle/>
                    <a:p>
                      <a:pPr algn="ctr">
                        <a:lnSpc>
                          <a:spcPct val="100000"/>
                        </a:lnSpc>
                        <a:spcBef>
                          <a:spcPts val="25"/>
                        </a:spcBef>
                      </a:pPr>
                      <a:r>
                        <a:rPr sz="1800" b="1" dirty="0">
                          <a:latin typeface="微软雅黑" panose="020B0503020204020204" pitchFamily="34" charset="-122"/>
                          <a:cs typeface="微软雅黑" panose="020B0503020204020204" pitchFamily="34" charset="-122"/>
                        </a:rPr>
                        <a:t>逐渐升高</a:t>
                      </a:r>
                    </a:p>
                  </a:txBody>
                  <a:tcPr marL="0" marR="0" marT="0" marB="0" anchor="ctr">
                    <a:lnL w="12700">
                      <a:solidFill>
                        <a:srgbClr val="000000"/>
                      </a:solidFill>
                      <a:prstDash val="solid"/>
                    </a:lnL>
                    <a:lnR w="12700">
                      <a:solidFill>
                        <a:srgbClr val="000000"/>
                      </a:solidFill>
                      <a:prstDash val="solid"/>
                    </a:lnR>
                    <a:lnT w="12700">
                      <a:solidFill>
                        <a:srgbClr val="000000"/>
                      </a:solidFill>
                      <a:prstDash val="solid"/>
                    </a:lnT>
                    <a:lnB w="12699">
                      <a:solidFill>
                        <a:srgbClr val="000000"/>
                      </a:solidFill>
                      <a:prstDash val="solid"/>
                    </a:lnB>
                  </a:tcPr>
                </a:tc>
                <a:tc>
                  <a:txBody>
                    <a:bodyPr/>
                    <a:lstStyle/>
                    <a:p>
                      <a:pPr algn="ctr">
                        <a:lnSpc>
                          <a:spcPct val="100000"/>
                        </a:lnSpc>
                        <a:spcBef>
                          <a:spcPts val="25"/>
                        </a:spcBef>
                      </a:pPr>
                      <a:r>
                        <a:rPr sz="1800" b="1" dirty="0">
                          <a:latin typeface="微软雅黑" panose="020B0503020204020204" pitchFamily="34" charset="-122"/>
                          <a:cs typeface="微软雅黑" panose="020B0503020204020204" pitchFamily="34" charset="-122"/>
                        </a:rPr>
                        <a:t>最高</a:t>
                      </a:r>
                    </a:p>
                  </a:txBody>
                  <a:tcPr marL="0" marR="0" marT="0" marB="0" anchor="ctr">
                    <a:lnL w="12700">
                      <a:solidFill>
                        <a:srgbClr val="000000"/>
                      </a:solidFill>
                      <a:prstDash val="solid"/>
                    </a:lnL>
                    <a:lnR w="12700">
                      <a:solidFill>
                        <a:srgbClr val="000000"/>
                      </a:solidFill>
                      <a:prstDash val="solid"/>
                    </a:lnR>
                    <a:lnT w="12700">
                      <a:solidFill>
                        <a:srgbClr val="000000"/>
                      </a:solidFill>
                      <a:prstDash val="solid"/>
                    </a:lnT>
                    <a:lnB w="12699">
                      <a:solidFill>
                        <a:srgbClr val="000000"/>
                      </a:solidFill>
                      <a:prstDash val="solid"/>
                    </a:lnB>
                  </a:tcPr>
                </a:tc>
              </a:tr>
            </a:tbl>
          </a:graphicData>
        </a:graphic>
      </p:graphicFrame>
      <p:sp>
        <p:nvSpPr>
          <p:cNvPr id="59426" name="Rectangle 2"/>
          <p:cNvSpPr>
            <a:spLocks noGrp="1" noChangeArrowheads="1"/>
          </p:cNvSpPr>
          <p:nvPr/>
        </p:nvSpPr>
        <p:spPr bwMode="auto">
          <a:xfrm>
            <a:off x="596900" y="542925"/>
            <a:ext cx="8940800" cy="56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90000"/>
              </a:lnSpc>
            </a:pPr>
            <a:r>
              <a:rPr lang="zh-CN" altLang="en-US" sz="2700" b="1">
                <a:solidFill>
                  <a:srgbClr val="0070C0"/>
                </a:solidFill>
                <a:latin typeface="Georgia" pitchFamily="18" charset="0"/>
              </a:rPr>
              <a:t>项目生命周期及主要特征 小结</a:t>
            </a:r>
          </a:p>
        </p:txBody>
      </p:sp>
      <p:sp>
        <p:nvSpPr>
          <p:cNvPr id="18435" name="文本框 1"/>
          <p:cNvSpPr txBox="1"/>
          <p:nvPr/>
        </p:nvSpPr>
        <p:spPr>
          <a:xfrm>
            <a:off x="279400" y="5205413"/>
            <a:ext cx="9542517" cy="424732"/>
          </a:xfrm>
          <a:prstGeom prst="rect">
            <a:avLst/>
          </a:prstGeom>
          <a:solidFill>
            <a:srgbClr val="C00000"/>
          </a:solidFill>
          <a:ln w="9525">
            <a:noFill/>
          </a:ln>
        </p:spPr>
        <p:txBody>
          <a:bodyPr wrap="square">
            <a:spAutoFit/>
          </a:bodyPr>
          <a:lstStyle/>
          <a:p>
            <a:pPr algn="ctr">
              <a:lnSpc>
                <a:spcPct val="120000"/>
              </a:lnSpc>
            </a:pPr>
            <a:r>
              <a:rPr lang="zh-CN" altLang="en-US" b="1" i="1" u="sng" noProof="1" smtClean="0">
                <a:solidFill>
                  <a:schemeClr val="bg1"/>
                </a:solidFill>
                <a:sym typeface="微软雅黑" panose="020B0503020204020204" pitchFamily="34" charset="-122"/>
              </a:rPr>
              <a:t>薛大龙博士解读</a:t>
            </a:r>
            <a:r>
              <a:rPr lang="zh-CN" altLang="en-US" b="1" i="1" u="sng" noProof="1">
                <a:solidFill>
                  <a:schemeClr val="bg1"/>
                </a:solidFill>
                <a:sym typeface="微软雅黑" panose="020B0503020204020204" pitchFamily="34" charset="-122"/>
              </a:rPr>
              <a:t>：</a:t>
            </a:r>
            <a:r>
              <a:rPr b="1" i="1" spc="-5" noProof="1">
                <a:solidFill>
                  <a:schemeClr val="bg1"/>
                </a:solidFill>
                <a:latin typeface="微软雅黑" panose="020B0503020204020204" pitchFamily="34" charset="-122"/>
                <a:cs typeface="微软雅黑" panose="020B0503020204020204" pitchFamily="34" charset="-122"/>
                <a:sym typeface="+mn-ea"/>
              </a:rPr>
              <a:t>越早地投入项目管理，获得成功的可能性越大，减少损失的可能性越大</a:t>
            </a:r>
            <a:r>
              <a:rPr lang="zh-CN" altLang="en-US" b="1" i="1" noProof="1">
                <a:solidFill>
                  <a:schemeClr val="bg1"/>
                </a:solidFill>
                <a:latin typeface="Georgia" panose="02040502050405020303" pitchFamily="18" charset="0"/>
                <a:sym typeface="微软雅黑" panose="020B0503020204020204" pitchFamily="34" charset="-122"/>
              </a:rPr>
              <a:t>。</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Rectangle 2"/>
          <p:cNvSpPr>
            <a:spLocks noGrp="1" noChangeArrowheads="1"/>
          </p:cNvSpPr>
          <p:nvPr>
            <p:ph type="title"/>
          </p:nvPr>
        </p:nvSpPr>
        <p:spPr>
          <a:xfrm>
            <a:off x="566738" y="512763"/>
            <a:ext cx="8940800" cy="563562"/>
          </a:xfrm>
        </p:spPr>
        <p:txBody>
          <a:bodyPr/>
          <a:lstStyle/>
          <a:p>
            <a:pPr eaLnBrk="1" hangingPunct="1"/>
            <a:r>
              <a:rPr smtClean="0"/>
              <a:t>项目管理过程</a:t>
            </a:r>
          </a:p>
        </p:txBody>
      </p:sp>
      <p:pic>
        <p:nvPicPr>
          <p:cNvPr id="60418" name="图片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675" y="1076325"/>
            <a:ext cx="5373688" cy="1176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419" name="矩形1"/>
          <p:cNvSpPr>
            <a:spLocks noChangeArrowheads="1"/>
          </p:cNvSpPr>
          <p:nvPr/>
        </p:nvSpPr>
        <p:spPr bwMode="auto">
          <a:xfrm>
            <a:off x="5803900" y="2395538"/>
            <a:ext cx="328613" cy="3316287"/>
          </a:xfrm>
          <a:prstGeom prst="rect">
            <a:avLst/>
          </a:prstGeom>
          <a:gradFill rotWithShape="1">
            <a:gsLst>
              <a:gs pos="0">
                <a:srgbClr val="FFB553"/>
              </a:gs>
              <a:gs pos="100000">
                <a:srgbClr val="EA8600"/>
              </a:gs>
            </a:gsLst>
            <a:lin ang="5400000" scaled="1"/>
          </a:gradFill>
          <a:ln>
            <a:noFill/>
          </a:ln>
          <a:extLst>
            <a:ext uri="{91240B29-F687-4F45-9708-019B960494DF}">
              <a14:hiddenLine xmlns:a14="http://schemas.microsoft.com/office/drawing/2010/main" w="25400">
                <a:solidFill>
                  <a:srgbClr val="000000"/>
                </a:solidFill>
                <a:miter lim="800000"/>
                <a:headEnd/>
                <a:tailEnd/>
              </a14:hiddenLine>
            </a:ext>
          </a:extLst>
        </p:spPr>
        <p:txBody>
          <a:bodyPr lIns="98346" tIns="49173" rIns="98346" bIns="49173"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zh-CN" altLang="en-US" sz="2000" b="1">
                <a:latin typeface="微软雅黑" pitchFamily="34" charset="-122"/>
              </a:rPr>
              <a:t>过程导向</a:t>
            </a:r>
          </a:p>
        </p:txBody>
      </p:sp>
      <p:sp>
        <p:nvSpPr>
          <p:cNvPr id="35860" name="箭头6"/>
          <p:cNvSpPr/>
          <p:nvPr/>
        </p:nvSpPr>
        <p:spPr>
          <a:xfrm>
            <a:off x="3609975" y="2817813"/>
            <a:ext cx="1724025" cy="803275"/>
          </a:xfrm>
          <a:custGeom>
            <a:avLst/>
            <a:gdLst>
              <a:gd name="txL" fmla="*/ 0 w 361"/>
              <a:gd name="txT" fmla="*/ 0 h 360"/>
              <a:gd name="txR" fmla="*/ 361 w 361"/>
              <a:gd name="txB" fmla="*/ 360 h 360"/>
            </a:gdLst>
            <a:ahLst/>
            <a:cxnLst>
              <a:cxn ang="0">
                <a:pos x="0" y="72"/>
              </a:cxn>
              <a:cxn ang="0">
                <a:pos x="256" y="72"/>
              </a:cxn>
              <a:cxn ang="0">
                <a:pos x="256" y="0"/>
              </a:cxn>
              <a:cxn ang="0">
                <a:pos x="360" y="184"/>
              </a:cxn>
              <a:cxn ang="0">
                <a:pos x="256" y="359"/>
              </a:cxn>
              <a:cxn ang="0">
                <a:pos x="256" y="288"/>
              </a:cxn>
              <a:cxn ang="0">
                <a:pos x="0" y="288"/>
              </a:cxn>
              <a:cxn ang="0">
                <a:pos x="0" y="184"/>
              </a:cxn>
              <a:cxn ang="0">
                <a:pos x="0" y="72"/>
              </a:cxn>
            </a:cxnLst>
            <a:rect l="txL" t="txT" r="txR" b="txB"/>
            <a:pathLst>
              <a:path w="361" h="360">
                <a:moveTo>
                  <a:pt x="0" y="72"/>
                </a:moveTo>
                <a:lnTo>
                  <a:pt x="256" y="72"/>
                </a:lnTo>
                <a:lnTo>
                  <a:pt x="256" y="0"/>
                </a:lnTo>
                <a:lnTo>
                  <a:pt x="360" y="184"/>
                </a:lnTo>
                <a:lnTo>
                  <a:pt x="256" y="359"/>
                </a:lnTo>
                <a:lnTo>
                  <a:pt x="256" y="288"/>
                </a:lnTo>
                <a:lnTo>
                  <a:pt x="0" y="288"/>
                </a:lnTo>
                <a:lnTo>
                  <a:pt x="0" y="184"/>
                </a:lnTo>
                <a:lnTo>
                  <a:pt x="0" y="72"/>
                </a:lnTo>
              </a:path>
            </a:pathLst>
          </a:custGeom>
          <a:solidFill>
            <a:schemeClr val="accent6">
              <a:lumMod val="60000"/>
              <a:lumOff val="40000"/>
            </a:schemeClr>
          </a:solidFill>
          <a:ln w="3175" cap="flat" cmpd="sng">
            <a:solidFill>
              <a:srgbClr val="D7D7D7"/>
            </a:solidFill>
            <a:prstDash val="solid"/>
            <a:bevel/>
            <a:headEnd type="none" w="med" len="med"/>
            <a:tailEnd type="none" w="med" len="med"/>
          </a:ln>
        </p:spPr>
        <p:txBody>
          <a:bodyPr lIns="98346" tIns="49173" rIns="98346" bIns="49173" anchor="ctr"/>
          <a:lstStyle/>
          <a:p>
            <a:pPr>
              <a:lnSpc>
                <a:spcPct val="120000"/>
              </a:lnSpc>
            </a:pPr>
            <a:r>
              <a:rPr lang="zh-CN" altLang="en-US" sz="2000" b="1" noProof="1">
                <a:solidFill>
                  <a:srgbClr val="4D4D4D"/>
                </a:solidFill>
                <a:latin typeface="微软雅黑" panose="020B0503020204020204" pitchFamily="34" charset="-122"/>
                <a:sym typeface="微软雅黑" panose="020B0503020204020204" pitchFamily="34" charset="-122"/>
              </a:rPr>
              <a:t>从输出想输入</a:t>
            </a:r>
          </a:p>
        </p:txBody>
      </p:sp>
      <p:sp>
        <p:nvSpPr>
          <p:cNvPr id="60421" name="箭头5"/>
          <p:cNvSpPr>
            <a:spLocks noChangeArrowheads="1"/>
          </p:cNvSpPr>
          <p:nvPr/>
        </p:nvSpPr>
        <p:spPr bwMode="auto">
          <a:xfrm>
            <a:off x="3368675" y="3873500"/>
            <a:ext cx="1720850" cy="803275"/>
          </a:xfrm>
          <a:custGeom>
            <a:avLst/>
            <a:gdLst>
              <a:gd name="T0" fmla="*/ 0 w 361"/>
              <a:gd name="T1" fmla="*/ 72 h 360"/>
              <a:gd name="T2" fmla="*/ 256 w 361"/>
              <a:gd name="T3" fmla="*/ 72 h 360"/>
              <a:gd name="T4" fmla="*/ 256 w 361"/>
              <a:gd name="T5" fmla="*/ 0 h 360"/>
              <a:gd name="T6" fmla="*/ 360 w 361"/>
              <a:gd name="T7" fmla="*/ 184 h 360"/>
              <a:gd name="T8" fmla="*/ 256 w 361"/>
              <a:gd name="T9" fmla="*/ 359 h 360"/>
              <a:gd name="T10" fmla="*/ 256 w 361"/>
              <a:gd name="T11" fmla="*/ 288 h 360"/>
              <a:gd name="T12" fmla="*/ 0 w 361"/>
              <a:gd name="T13" fmla="*/ 288 h 360"/>
              <a:gd name="T14" fmla="*/ 0 w 361"/>
              <a:gd name="T15" fmla="*/ 184 h 360"/>
              <a:gd name="T16" fmla="*/ 0 w 361"/>
              <a:gd name="T17" fmla="*/ 72 h 3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1"/>
              <a:gd name="T28" fmla="*/ 0 h 360"/>
              <a:gd name="T29" fmla="*/ 361 w 361"/>
              <a:gd name="T30" fmla="*/ 360 h 3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1" h="360">
                <a:moveTo>
                  <a:pt x="0" y="72"/>
                </a:moveTo>
                <a:lnTo>
                  <a:pt x="256" y="72"/>
                </a:lnTo>
                <a:lnTo>
                  <a:pt x="256" y="0"/>
                </a:lnTo>
                <a:lnTo>
                  <a:pt x="360" y="184"/>
                </a:lnTo>
                <a:lnTo>
                  <a:pt x="256" y="359"/>
                </a:lnTo>
                <a:lnTo>
                  <a:pt x="256" y="288"/>
                </a:lnTo>
                <a:lnTo>
                  <a:pt x="0" y="288"/>
                </a:lnTo>
                <a:lnTo>
                  <a:pt x="0" y="184"/>
                </a:lnTo>
                <a:lnTo>
                  <a:pt x="0" y="72"/>
                </a:lnTo>
              </a:path>
            </a:pathLst>
          </a:custGeom>
          <a:solidFill>
            <a:srgbClr val="00B0F0"/>
          </a:solidFill>
          <a:ln w="3175">
            <a:solidFill>
              <a:srgbClr val="D7D7D7"/>
            </a:solidFill>
            <a:bevel/>
            <a:headEnd/>
            <a:tailEnd/>
          </a:ln>
        </p:spPr>
        <p:txBody>
          <a:bodyPr lIns="98346" tIns="49173" rIns="98346" bIns="49173"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120000"/>
              </a:lnSpc>
            </a:pPr>
            <a:r>
              <a:rPr lang="zh-CN" altLang="en-US" sz="2000" b="1">
                <a:solidFill>
                  <a:srgbClr val="4D4D4D"/>
                </a:solidFill>
                <a:latin typeface="微软雅黑" pitchFamily="34" charset="-122"/>
                <a:sym typeface="微软雅黑" pitchFamily="34" charset="-122"/>
              </a:rPr>
              <a:t>从输入找工具</a:t>
            </a:r>
          </a:p>
        </p:txBody>
      </p:sp>
      <p:sp>
        <p:nvSpPr>
          <p:cNvPr id="60422" name="箭头4"/>
          <p:cNvSpPr>
            <a:spLocks noChangeArrowheads="1"/>
          </p:cNvSpPr>
          <p:nvPr/>
        </p:nvSpPr>
        <p:spPr bwMode="auto">
          <a:xfrm>
            <a:off x="3463925" y="4897438"/>
            <a:ext cx="1722438" cy="803275"/>
          </a:xfrm>
          <a:custGeom>
            <a:avLst/>
            <a:gdLst>
              <a:gd name="T0" fmla="*/ 0 w 361"/>
              <a:gd name="T1" fmla="*/ 72 h 360"/>
              <a:gd name="T2" fmla="*/ 256 w 361"/>
              <a:gd name="T3" fmla="*/ 72 h 360"/>
              <a:gd name="T4" fmla="*/ 256 w 361"/>
              <a:gd name="T5" fmla="*/ 0 h 360"/>
              <a:gd name="T6" fmla="*/ 360 w 361"/>
              <a:gd name="T7" fmla="*/ 184 h 360"/>
              <a:gd name="T8" fmla="*/ 256 w 361"/>
              <a:gd name="T9" fmla="*/ 359 h 360"/>
              <a:gd name="T10" fmla="*/ 256 w 361"/>
              <a:gd name="T11" fmla="*/ 288 h 360"/>
              <a:gd name="T12" fmla="*/ 0 w 361"/>
              <a:gd name="T13" fmla="*/ 288 h 360"/>
              <a:gd name="T14" fmla="*/ 0 w 361"/>
              <a:gd name="T15" fmla="*/ 184 h 360"/>
              <a:gd name="T16" fmla="*/ 0 w 361"/>
              <a:gd name="T17" fmla="*/ 72 h 3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1"/>
              <a:gd name="T28" fmla="*/ 0 h 360"/>
              <a:gd name="T29" fmla="*/ 361 w 361"/>
              <a:gd name="T30" fmla="*/ 360 h 3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1" h="360">
                <a:moveTo>
                  <a:pt x="0" y="72"/>
                </a:moveTo>
                <a:lnTo>
                  <a:pt x="256" y="72"/>
                </a:lnTo>
                <a:lnTo>
                  <a:pt x="256" y="0"/>
                </a:lnTo>
                <a:lnTo>
                  <a:pt x="360" y="184"/>
                </a:lnTo>
                <a:lnTo>
                  <a:pt x="256" y="359"/>
                </a:lnTo>
                <a:lnTo>
                  <a:pt x="256" y="288"/>
                </a:lnTo>
                <a:lnTo>
                  <a:pt x="0" y="288"/>
                </a:lnTo>
                <a:lnTo>
                  <a:pt x="0" y="184"/>
                </a:lnTo>
                <a:lnTo>
                  <a:pt x="0" y="72"/>
                </a:lnTo>
              </a:path>
            </a:pathLst>
          </a:custGeom>
          <a:solidFill>
            <a:srgbClr val="C00000"/>
          </a:solidFill>
          <a:ln w="3175">
            <a:solidFill>
              <a:srgbClr val="D7D7D7"/>
            </a:solidFill>
            <a:bevel/>
            <a:headEnd/>
            <a:tailEnd/>
          </a:ln>
        </p:spPr>
        <p:txBody>
          <a:bodyPr lIns="98346" tIns="49173" rIns="98346" bIns="49173"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120000"/>
              </a:lnSpc>
            </a:pPr>
            <a:r>
              <a:rPr lang="zh-CN" altLang="en-US" sz="2000" b="1">
                <a:latin typeface="微软雅黑" pitchFamily="34" charset="-122"/>
              </a:rPr>
              <a:t>从工具想实施</a:t>
            </a:r>
          </a:p>
        </p:txBody>
      </p:sp>
      <p:sp>
        <p:nvSpPr>
          <p:cNvPr id="60423" name="箭头2"/>
          <p:cNvSpPr>
            <a:spLocks noChangeArrowheads="1"/>
          </p:cNvSpPr>
          <p:nvPr/>
        </p:nvSpPr>
        <p:spPr bwMode="auto">
          <a:xfrm>
            <a:off x="733425" y="3279775"/>
            <a:ext cx="1722438" cy="803275"/>
          </a:xfrm>
          <a:custGeom>
            <a:avLst/>
            <a:gdLst>
              <a:gd name="T0" fmla="*/ 0 w 361"/>
              <a:gd name="T1" fmla="*/ 72 h 360"/>
              <a:gd name="T2" fmla="*/ 256 w 361"/>
              <a:gd name="T3" fmla="*/ 72 h 360"/>
              <a:gd name="T4" fmla="*/ 256 w 361"/>
              <a:gd name="T5" fmla="*/ 0 h 360"/>
              <a:gd name="T6" fmla="*/ 360 w 361"/>
              <a:gd name="T7" fmla="*/ 184 h 360"/>
              <a:gd name="T8" fmla="*/ 256 w 361"/>
              <a:gd name="T9" fmla="*/ 359 h 360"/>
              <a:gd name="T10" fmla="*/ 256 w 361"/>
              <a:gd name="T11" fmla="*/ 288 h 360"/>
              <a:gd name="T12" fmla="*/ 0 w 361"/>
              <a:gd name="T13" fmla="*/ 288 h 360"/>
              <a:gd name="T14" fmla="*/ 0 w 361"/>
              <a:gd name="T15" fmla="*/ 184 h 360"/>
              <a:gd name="T16" fmla="*/ 0 w 361"/>
              <a:gd name="T17" fmla="*/ 72 h 3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1"/>
              <a:gd name="T28" fmla="*/ 0 h 360"/>
              <a:gd name="T29" fmla="*/ 361 w 361"/>
              <a:gd name="T30" fmla="*/ 360 h 3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1" h="360">
                <a:moveTo>
                  <a:pt x="0" y="72"/>
                </a:moveTo>
                <a:lnTo>
                  <a:pt x="256" y="72"/>
                </a:lnTo>
                <a:lnTo>
                  <a:pt x="256" y="0"/>
                </a:lnTo>
                <a:lnTo>
                  <a:pt x="360" y="184"/>
                </a:lnTo>
                <a:lnTo>
                  <a:pt x="256" y="359"/>
                </a:lnTo>
                <a:lnTo>
                  <a:pt x="256" y="288"/>
                </a:lnTo>
                <a:lnTo>
                  <a:pt x="0" y="288"/>
                </a:lnTo>
                <a:lnTo>
                  <a:pt x="0" y="184"/>
                </a:lnTo>
                <a:lnTo>
                  <a:pt x="0" y="72"/>
                </a:lnTo>
              </a:path>
            </a:pathLst>
          </a:custGeom>
          <a:solidFill>
            <a:srgbClr val="D9D9D9"/>
          </a:solidFill>
          <a:ln w="3175">
            <a:solidFill>
              <a:srgbClr val="D7D7D7"/>
            </a:solidFill>
            <a:bevel/>
            <a:headEnd/>
            <a:tailEnd/>
          </a:ln>
        </p:spPr>
        <p:txBody>
          <a:bodyPr lIns="98346" tIns="49173" rIns="98346" bIns="49173"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120000"/>
              </a:lnSpc>
            </a:pPr>
            <a:r>
              <a:rPr lang="zh-CN" altLang="en-US" b="1">
                <a:latin typeface="微软雅黑" pitchFamily="34" charset="-122"/>
              </a:rPr>
              <a:t>组织过程资产</a:t>
            </a:r>
          </a:p>
        </p:txBody>
      </p:sp>
      <p:sp>
        <p:nvSpPr>
          <p:cNvPr id="60424" name="箭头1"/>
          <p:cNvSpPr>
            <a:spLocks noChangeArrowheads="1"/>
          </p:cNvSpPr>
          <p:nvPr/>
        </p:nvSpPr>
        <p:spPr bwMode="auto">
          <a:xfrm>
            <a:off x="1250950" y="4349750"/>
            <a:ext cx="1724025" cy="803275"/>
          </a:xfrm>
          <a:custGeom>
            <a:avLst/>
            <a:gdLst>
              <a:gd name="T0" fmla="*/ 0 w 361"/>
              <a:gd name="T1" fmla="*/ 72 h 360"/>
              <a:gd name="T2" fmla="*/ 256 w 361"/>
              <a:gd name="T3" fmla="*/ 72 h 360"/>
              <a:gd name="T4" fmla="*/ 256 w 361"/>
              <a:gd name="T5" fmla="*/ 0 h 360"/>
              <a:gd name="T6" fmla="*/ 360 w 361"/>
              <a:gd name="T7" fmla="*/ 184 h 360"/>
              <a:gd name="T8" fmla="*/ 256 w 361"/>
              <a:gd name="T9" fmla="*/ 359 h 360"/>
              <a:gd name="T10" fmla="*/ 256 w 361"/>
              <a:gd name="T11" fmla="*/ 288 h 360"/>
              <a:gd name="T12" fmla="*/ 0 w 361"/>
              <a:gd name="T13" fmla="*/ 288 h 360"/>
              <a:gd name="T14" fmla="*/ 0 w 361"/>
              <a:gd name="T15" fmla="*/ 184 h 360"/>
              <a:gd name="T16" fmla="*/ 0 w 361"/>
              <a:gd name="T17" fmla="*/ 72 h 3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1"/>
              <a:gd name="T28" fmla="*/ 0 h 360"/>
              <a:gd name="T29" fmla="*/ 361 w 361"/>
              <a:gd name="T30" fmla="*/ 360 h 3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1" h="360">
                <a:moveTo>
                  <a:pt x="0" y="72"/>
                </a:moveTo>
                <a:lnTo>
                  <a:pt x="256" y="72"/>
                </a:lnTo>
                <a:lnTo>
                  <a:pt x="256" y="0"/>
                </a:lnTo>
                <a:lnTo>
                  <a:pt x="360" y="184"/>
                </a:lnTo>
                <a:lnTo>
                  <a:pt x="256" y="359"/>
                </a:lnTo>
                <a:lnTo>
                  <a:pt x="256" y="288"/>
                </a:lnTo>
                <a:lnTo>
                  <a:pt x="0" y="288"/>
                </a:lnTo>
                <a:lnTo>
                  <a:pt x="0" y="184"/>
                </a:lnTo>
                <a:lnTo>
                  <a:pt x="0" y="72"/>
                </a:lnTo>
              </a:path>
            </a:pathLst>
          </a:custGeom>
          <a:gradFill rotWithShape="1">
            <a:gsLst>
              <a:gs pos="0">
                <a:srgbClr val="F9F9F9"/>
              </a:gs>
              <a:gs pos="32999">
                <a:srgbClr val="F9F9F9"/>
              </a:gs>
              <a:gs pos="100000">
                <a:srgbClr val="D7D7D7"/>
              </a:gs>
            </a:gsLst>
            <a:lin ang="5400000" scaled="1"/>
          </a:gradFill>
          <a:ln w="3175">
            <a:solidFill>
              <a:srgbClr val="D7D7D7"/>
            </a:solidFill>
            <a:bevel/>
            <a:headEnd/>
            <a:tailEnd/>
          </a:ln>
        </p:spPr>
        <p:txBody>
          <a:bodyPr lIns="98346" tIns="49173" rIns="98346" bIns="49173"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120000"/>
              </a:lnSpc>
            </a:pPr>
            <a:r>
              <a:rPr lang="zh-CN" altLang="en-US" b="1">
                <a:latin typeface="微软雅黑" pitchFamily="34" charset="-122"/>
              </a:rPr>
              <a:t>事业环境因素</a:t>
            </a:r>
          </a:p>
        </p:txBody>
      </p:sp>
      <p:sp>
        <p:nvSpPr>
          <p:cNvPr id="60425" name="矩形 17"/>
          <p:cNvSpPr>
            <a:spLocks noChangeArrowheads="1"/>
          </p:cNvSpPr>
          <p:nvPr/>
        </p:nvSpPr>
        <p:spPr bwMode="auto">
          <a:xfrm>
            <a:off x="1489075" y="2155825"/>
            <a:ext cx="500063"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en-US" sz="100">
                <a:solidFill>
                  <a:srgbClr val="595959"/>
                </a:solidFill>
                <a:latin typeface="微软雅黑" pitchFamily="34" charset="-122"/>
                <a:sym typeface="Times New Roman" pitchFamily="18" charset="0"/>
              </a:rPr>
              <a:t>一个团队的领导者对于这个团队来说到底意味着什么呢？</a:t>
            </a:r>
            <a:endParaRPr lang="zh-CN" altLang="en-US" sz="100">
              <a:solidFill>
                <a:srgbClr val="595959"/>
              </a:solidFill>
              <a:latin typeface="微软雅黑" pitchFamily="34" charset="-122"/>
              <a:sym typeface="微软雅黑" pitchFamily="34" charset="-122"/>
            </a:endParaRPr>
          </a:p>
        </p:txBody>
      </p:sp>
      <p:pic>
        <p:nvPicPr>
          <p:cNvPr id="60426" name="图片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83375" y="2262188"/>
            <a:ext cx="1112838" cy="1111250"/>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60427" name="文本框 1"/>
          <p:cNvSpPr txBox="1">
            <a:spLocks noChangeArrowheads="1"/>
          </p:cNvSpPr>
          <p:nvPr/>
        </p:nvSpPr>
        <p:spPr bwMode="auto">
          <a:xfrm>
            <a:off x="6477000" y="3622675"/>
            <a:ext cx="250348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en-US" b="1">
                <a:solidFill>
                  <a:srgbClr val="0000FF"/>
                </a:solidFill>
              </a:rPr>
              <a:t>项目文件和项目计划</a:t>
            </a:r>
          </a:p>
        </p:txBody>
      </p:sp>
      <p:sp>
        <p:nvSpPr>
          <p:cNvPr id="60428" name="文本框 2"/>
          <p:cNvSpPr txBox="1">
            <a:spLocks noChangeArrowheads="1"/>
          </p:cNvSpPr>
          <p:nvPr/>
        </p:nvSpPr>
        <p:spPr bwMode="auto">
          <a:xfrm>
            <a:off x="6480175" y="3978275"/>
            <a:ext cx="204628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en-US" b="1">
                <a:solidFill>
                  <a:srgbClr val="0000FF"/>
                </a:solidFill>
              </a:rPr>
              <a:t>可交付成果和数据</a:t>
            </a:r>
          </a:p>
        </p:txBody>
      </p:sp>
      <p:sp>
        <p:nvSpPr>
          <p:cNvPr id="60429" name="文本框 3"/>
          <p:cNvSpPr txBox="1">
            <a:spLocks noChangeArrowheads="1"/>
          </p:cNvSpPr>
          <p:nvPr/>
        </p:nvSpPr>
        <p:spPr bwMode="auto">
          <a:xfrm>
            <a:off x="6480175" y="4376738"/>
            <a:ext cx="214471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en-US" b="1">
                <a:solidFill>
                  <a:srgbClr val="0000FF"/>
                </a:solidFill>
              </a:rPr>
              <a:t>变更请求</a:t>
            </a:r>
          </a:p>
        </p:txBody>
      </p:sp>
      <p:sp>
        <p:nvSpPr>
          <p:cNvPr id="60430" name="文本框 5"/>
          <p:cNvSpPr txBox="1">
            <a:spLocks noChangeArrowheads="1"/>
          </p:cNvSpPr>
          <p:nvPr/>
        </p:nvSpPr>
        <p:spPr bwMode="auto">
          <a:xfrm>
            <a:off x="6480175" y="4775200"/>
            <a:ext cx="25527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en-US" b="1">
                <a:solidFill>
                  <a:srgbClr val="0000FF"/>
                </a:solidFill>
              </a:rPr>
              <a:t>组织过程资产和事业环境因素更新</a:t>
            </a:r>
          </a:p>
        </p:txBody>
      </p:sp>
      <p:sp>
        <p:nvSpPr>
          <p:cNvPr id="2" name="五角星 1"/>
          <p:cNvSpPr/>
          <p:nvPr/>
        </p:nvSpPr>
        <p:spPr>
          <a:xfrm>
            <a:off x="3667125" y="687388"/>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7" name="五角星 6"/>
          <p:cNvSpPr/>
          <p:nvPr/>
        </p:nvSpPr>
        <p:spPr>
          <a:xfrm>
            <a:off x="3916363" y="687388"/>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0" name="五角星 9"/>
          <p:cNvSpPr/>
          <p:nvPr/>
        </p:nvSpPr>
        <p:spPr>
          <a:xfrm>
            <a:off x="4173538" y="68421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1" name="五角星 10"/>
          <p:cNvSpPr/>
          <p:nvPr/>
        </p:nvSpPr>
        <p:spPr>
          <a:xfrm>
            <a:off x="4413250" y="687388"/>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2" name="五角星 11"/>
          <p:cNvSpPr/>
          <p:nvPr/>
        </p:nvSpPr>
        <p:spPr>
          <a:xfrm>
            <a:off x="4659313" y="687388"/>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3" name="五角星 12"/>
          <p:cNvSpPr/>
          <p:nvPr/>
        </p:nvSpPr>
        <p:spPr>
          <a:xfrm>
            <a:off x="3160713" y="692150"/>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4" name="五角星 13"/>
          <p:cNvSpPr/>
          <p:nvPr/>
        </p:nvSpPr>
        <p:spPr>
          <a:xfrm>
            <a:off x="3406775" y="692150"/>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p2.so.qhimgs1.com/bdr/_240_/t01689c26c963d8943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9303" y="637241"/>
            <a:ext cx="9659718" cy="558634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ttps://p1.ssl.qhmsg.com/dr/270_500_/t0105beebb30fd2751b.png?size=500x6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12762" y="1235538"/>
            <a:ext cx="3129717" cy="375566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https://p1.ssl.qhmsg.com/t0115de3a1087d85ce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09313" y="1235538"/>
            <a:ext cx="3087477" cy="3755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6297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1000"/>
                                        <p:tgtEl>
                                          <p:spTgt spid="7"/>
                                        </p:tgtEl>
                                      </p:cBhvr>
                                    </p:animEffect>
                                    <p:anim calcmode="lin" valueType="num">
                                      <p:cBhvr>
                                        <p:cTn id="15" dur="1000" fill="hold"/>
                                        <p:tgtEl>
                                          <p:spTgt spid="7"/>
                                        </p:tgtEl>
                                        <p:attrNameLst>
                                          <p:attrName>ppt_x</p:attrName>
                                        </p:attrNameLst>
                                      </p:cBhvr>
                                      <p:tavLst>
                                        <p:tav tm="0">
                                          <p:val>
                                            <p:strVal val="#ppt_x"/>
                                          </p:val>
                                        </p:tav>
                                        <p:tav tm="100000">
                                          <p:val>
                                            <p:strVal val="#ppt_x"/>
                                          </p:val>
                                        </p:tav>
                                      </p:tavLst>
                                    </p:anim>
                                    <p:anim calcmode="lin" valueType="num">
                                      <p:cBhvr>
                                        <p:cTn id="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Rectangle 2"/>
          <p:cNvSpPr>
            <a:spLocks noGrp="1" noChangeArrowheads="1"/>
          </p:cNvSpPr>
          <p:nvPr>
            <p:ph type="title"/>
          </p:nvPr>
        </p:nvSpPr>
        <p:spPr>
          <a:xfrm>
            <a:off x="819150" y="428625"/>
            <a:ext cx="8940800" cy="563563"/>
          </a:xfrm>
        </p:spPr>
        <p:txBody>
          <a:bodyPr/>
          <a:lstStyle/>
          <a:p>
            <a:pPr eaLnBrk="1" hangingPunct="1"/>
            <a:r>
              <a:rPr smtClean="0"/>
              <a:t>项目管理过程</a:t>
            </a:r>
          </a:p>
        </p:txBody>
      </p:sp>
      <p:sp>
        <p:nvSpPr>
          <p:cNvPr id="62466" name="文本框 3"/>
          <p:cNvSpPr txBox="1">
            <a:spLocks noChangeArrowheads="1"/>
          </p:cNvSpPr>
          <p:nvPr/>
        </p:nvSpPr>
        <p:spPr bwMode="auto">
          <a:xfrm>
            <a:off x="401638" y="992188"/>
            <a:ext cx="862965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r>
              <a:rPr lang="zh-CN" altLang="en-US"/>
              <a:t>过程迭代的次数和过程间的相互作用因具体项目的需求而不同。过程通常分为三类：</a:t>
            </a:r>
          </a:p>
          <a:p>
            <a:endParaRPr lang="zh-CN" altLang="en-US"/>
          </a:p>
        </p:txBody>
      </p:sp>
      <p:sp>
        <p:nvSpPr>
          <p:cNvPr id="7" name="矩形 6"/>
          <p:cNvSpPr/>
          <p:nvPr/>
        </p:nvSpPr>
        <p:spPr>
          <a:xfrm>
            <a:off x="866775" y="1520825"/>
            <a:ext cx="7331075" cy="911225"/>
          </a:xfrm>
          <a:prstGeom prst="rect">
            <a:avLst/>
          </a:prstGeom>
          <a:solidFill>
            <a:srgbClr val="E8E8E6"/>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96418" tIns="48209" rIns="96418" bIns="48209" anchor="ctr"/>
          <a:lstStyle/>
          <a:p>
            <a:pPr algn="ctr"/>
            <a:endParaRPr lang="zh-CN" altLang="en-US" sz="1900" noProof="1">
              <a:latin typeface="Arial" panose="020B0604020202020204"/>
              <a:sym typeface="Arial" panose="020B0604020202020204"/>
            </a:endParaRPr>
          </a:p>
        </p:txBody>
      </p:sp>
      <p:sp>
        <p:nvSpPr>
          <p:cNvPr id="8" name="矩形 7"/>
          <p:cNvSpPr/>
          <p:nvPr/>
        </p:nvSpPr>
        <p:spPr>
          <a:xfrm>
            <a:off x="1571625" y="1530350"/>
            <a:ext cx="5580063" cy="547688"/>
          </a:xfrm>
          <a:prstGeom prst="rect">
            <a:avLst/>
          </a:prstGeom>
          <a:solidFill>
            <a:srgbClr val="C00000"/>
          </a:solidFill>
          <a:ln>
            <a:noFill/>
          </a:ln>
          <a:effectLst>
            <a:outerShdw blurRad="63500" algn="ctr" rotWithShape="0">
              <a:prstClr val="black">
                <a:alpha val="40000"/>
              </a:prstClr>
            </a:outerShdw>
          </a:effectLst>
        </p:spPr>
        <p:txBody>
          <a:bodyPr anchor="ctr"/>
          <a:lstStyle/>
          <a:p>
            <a:pPr algn="ctr"/>
            <a:r>
              <a:rPr lang="zh-CN" altLang="en-US" sz="2000" b="1" noProof="1">
                <a:solidFill>
                  <a:schemeClr val="bg1"/>
                </a:solidFill>
                <a:sym typeface="+mn-ea"/>
              </a:rPr>
              <a:t>仅开展一次或仅在项目预定义点开展的过程。</a:t>
            </a:r>
            <a:endParaRPr lang="zh-CN" altLang="en-US" sz="2000" b="1" kern="0" noProof="1">
              <a:solidFill>
                <a:schemeClr val="bg1"/>
              </a:solidFill>
              <a:latin typeface="Arial" panose="020B0604020202020204"/>
              <a:cs typeface="+mn-ea"/>
              <a:sym typeface="+mn-ea"/>
            </a:endParaRPr>
          </a:p>
        </p:txBody>
      </p:sp>
      <p:sp>
        <p:nvSpPr>
          <p:cNvPr id="62469" name="TextBox 9"/>
          <p:cNvSpPr txBox="1">
            <a:spLocks noChangeArrowheads="1"/>
          </p:cNvSpPr>
          <p:nvPr/>
        </p:nvSpPr>
        <p:spPr bwMode="auto">
          <a:xfrm>
            <a:off x="2058988" y="2078038"/>
            <a:ext cx="471646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418" tIns="48209" rIns="96418" bIns="48209">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130000"/>
              </a:lnSpc>
            </a:pPr>
            <a:r>
              <a:rPr lang="zh-CN" altLang="en-US" sz="2000">
                <a:sym typeface="微软雅黑" pitchFamily="34" charset="-122"/>
              </a:rPr>
              <a:t>例如制定项目章程以及结束项目或阶段。</a:t>
            </a:r>
            <a:endParaRPr lang="zh-CN" altLang="en-US" sz="2000">
              <a:solidFill>
                <a:srgbClr val="000000"/>
              </a:solidFill>
              <a:latin typeface="Arial" pitchFamily="34" charset="0"/>
              <a:sym typeface="微软雅黑" pitchFamily="34" charset="-122"/>
            </a:endParaRPr>
          </a:p>
        </p:txBody>
      </p:sp>
      <p:sp>
        <p:nvSpPr>
          <p:cNvPr id="3" name="矩形 2"/>
          <p:cNvSpPr/>
          <p:nvPr/>
        </p:nvSpPr>
        <p:spPr>
          <a:xfrm>
            <a:off x="922338" y="2759075"/>
            <a:ext cx="7275512" cy="911225"/>
          </a:xfrm>
          <a:prstGeom prst="rect">
            <a:avLst/>
          </a:prstGeom>
          <a:solidFill>
            <a:srgbClr val="E8E8E6"/>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96418" tIns="48209" rIns="96418" bIns="48209" anchor="ctr"/>
          <a:lstStyle/>
          <a:p>
            <a:pPr algn="ctr"/>
            <a:endParaRPr lang="zh-CN" altLang="en-US" sz="1900" noProof="1">
              <a:latin typeface="Arial" panose="020B0604020202020204"/>
              <a:sym typeface="Arial" panose="020B0604020202020204"/>
            </a:endParaRPr>
          </a:p>
        </p:txBody>
      </p:sp>
      <p:sp>
        <p:nvSpPr>
          <p:cNvPr id="4" name="矩形 3"/>
          <p:cNvSpPr/>
          <p:nvPr/>
        </p:nvSpPr>
        <p:spPr>
          <a:xfrm>
            <a:off x="1627188" y="2768600"/>
            <a:ext cx="5580062" cy="547688"/>
          </a:xfrm>
          <a:prstGeom prst="rect">
            <a:avLst/>
          </a:prstGeom>
          <a:solidFill>
            <a:srgbClr val="C00000"/>
          </a:solidFill>
          <a:ln>
            <a:noFill/>
          </a:ln>
          <a:effectLst>
            <a:outerShdw blurRad="63500" algn="ctr" rotWithShape="0">
              <a:prstClr val="black">
                <a:alpha val="40000"/>
              </a:prstClr>
            </a:outerShdw>
          </a:effectLst>
        </p:spPr>
        <p:txBody>
          <a:bodyPr anchor="ctr"/>
          <a:lstStyle/>
          <a:p>
            <a:pPr algn="ctr"/>
            <a:r>
              <a:rPr lang="zh-CN" altLang="en-US" sz="2000" b="1" noProof="1">
                <a:solidFill>
                  <a:schemeClr val="bg1"/>
                </a:solidFill>
                <a:sym typeface="+mn-ea"/>
              </a:rPr>
              <a:t>根据需要定期开展的过程。</a:t>
            </a:r>
          </a:p>
        </p:txBody>
      </p:sp>
      <p:sp>
        <p:nvSpPr>
          <p:cNvPr id="62472" name="TextBox 9"/>
          <p:cNvSpPr txBox="1">
            <a:spLocks noChangeArrowheads="1"/>
          </p:cNvSpPr>
          <p:nvPr/>
        </p:nvSpPr>
        <p:spPr bwMode="auto">
          <a:xfrm>
            <a:off x="1187450" y="3303588"/>
            <a:ext cx="700881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418" tIns="48209" rIns="96418" bIns="48209">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130000"/>
              </a:lnSpc>
            </a:pPr>
            <a:r>
              <a:rPr lang="zh-CN" altLang="en-US" sz="2000">
                <a:sym typeface="微软雅黑" pitchFamily="34" charset="-122"/>
              </a:rPr>
              <a:t>在需要资源时执行获取资源。在需要采购之前执行实施采购。</a:t>
            </a:r>
            <a:endParaRPr lang="zh-CN" altLang="en-US" sz="2000">
              <a:solidFill>
                <a:srgbClr val="000000"/>
              </a:solidFill>
              <a:latin typeface="Arial" pitchFamily="34" charset="0"/>
              <a:sym typeface="微软雅黑" pitchFamily="34" charset="-122"/>
            </a:endParaRPr>
          </a:p>
        </p:txBody>
      </p:sp>
      <p:sp>
        <p:nvSpPr>
          <p:cNvPr id="6" name="矩形 5"/>
          <p:cNvSpPr/>
          <p:nvPr/>
        </p:nvSpPr>
        <p:spPr>
          <a:xfrm>
            <a:off x="922338" y="3997325"/>
            <a:ext cx="7275512" cy="1160463"/>
          </a:xfrm>
          <a:prstGeom prst="rect">
            <a:avLst/>
          </a:prstGeom>
          <a:solidFill>
            <a:srgbClr val="E8E8E6"/>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96418" tIns="48209" rIns="96418" bIns="48209" anchor="ctr"/>
          <a:lstStyle/>
          <a:p>
            <a:pPr algn="ctr"/>
            <a:endParaRPr lang="zh-CN" altLang="en-US" sz="1900" noProof="1">
              <a:latin typeface="Arial" panose="020B0604020202020204"/>
              <a:sym typeface="Arial" panose="020B0604020202020204"/>
            </a:endParaRPr>
          </a:p>
        </p:txBody>
      </p:sp>
      <p:sp>
        <p:nvSpPr>
          <p:cNvPr id="10" name="矩形 9"/>
          <p:cNvSpPr/>
          <p:nvPr/>
        </p:nvSpPr>
        <p:spPr>
          <a:xfrm>
            <a:off x="1627188" y="4006850"/>
            <a:ext cx="5580062" cy="547688"/>
          </a:xfrm>
          <a:prstGeom prst="rect">
            <a:avLst/>
          </a:prstGeom>
          <a:solidFill>
            <a:srgbClr val="C00000"/>
          </a:solidFill>
          <a:ln>
            <a:noFill/>
          </a:ln>
          <a:effectLst>
            <a:outerShdw blurRad="63500" algn="ctr" rotWithShape="0">
              <a:prstClr val="black">
                <a:alpha val="40000"/>
              </a:prstClr>
            </a:outerShdw>
          </a:effectLst>
        </p:spPr>
        <p:txBody>
          <a:bodyPr anchor="ctr"/>
          <a:lstStyle/>
          <a:p>
            <a:pPr algn="ctr"/>
            <a:r>
              <a:rPr lang="zh-CN" altLang="en-US" sz="2000" b="1" noProof="1">
                <a:solidFill>
                  <a:schemeClr val="bg1"/>
                </a:solidFill>
                <a:sym typeface="+mn-ea"/>
              </a:rPr>
              <a:t>贯穿项目始终执行的过程。</a:t>
            </a:r>
          </a:p>
        </p:txBody>
      </p:sp>
      <p:sp>
        <p:nvSpPr>
          <p:cNvPr id="62475" name="TextBox 9"/>
          <p:cNvSpPr txBox="1">
            <a:spLocks noChangeArrowheads="1"/>
          </p:cNvSpPr>
          <p:nvPr/>
        </p:nvSpPr>
        <p:spPr bwMode="auto">
          <a:xfrm>
            <a:off x="1187450" y="4541838"/>
            <a:ext cx="6400800" cy="1296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418" tIns="48209" rIns="96418" bIns="48209">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130000"/>
              </a:lnSpc>
            </a:pPr>
            <a:r>
              <a:rPr lang="zh-CN" altLang="en-US" sz="2000">
                <a:sym typeface="微软雅黑" pitchFamily="34" charset="-122"/>
              </a:rPr>
              <a:t>在整个项目生命周期中可能执行的过程定义活动，特别是当项目使用滚动式规划或适应型开发方法时。从项目开始到项目结束需要持续开展许多监控过程。</a:t>
            </a:r>
            <a:endParaRPr lang="zh-CN" altLang="en-US" sz="2000">
              <a:solidFill>
                <a:srgbClr val="000000"/>
              </a:solidFill>
              <a:latin typeface="Arial" pitchFamily="34" charset="0"/>
              <a:sym typeface="微软雅黑" pitchFamily="34" charset="-122"/>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Rectangle 2"/>
          <p:cNvSpPr>
            <a:spLocks noGrp="1" noChangeArrowheads="1"/>
          </p:cNvSpPr>
          <p:nvPr>
            <p:ph type="title"/>
          </p:nvPr>
        </p:nvSpPr>
        <p:spPr>
          <a:xfrm>
            <a:off x="754063" y="492125"/>
            <a:ext cx="8940800" cy="563563"/>
          </a:xfrm>
        </p:spPr>
        <p:txBody>
          <a:bodyPr/>
          <a:lstStyle/>
          <a:p>
            <a:pPr eaLnBrk="1" hangingPunct="1"/>
            <a:r>
              <a:rPr smtClean="0"/>
              <a:t>项目管理过程组</a:t>
            </a:r>
          </a:p>
        </p:txBody>
      </p:sp>
      <p:sp>
        <p:nvSpPr>
          <p:cNvPr id="63490" name="文本框 5"/>
          <p:cNvSpPr txBox="1">
            <a:spLocks noChangeArrowheads="1"/>
          </p:cNvSpPr>
          <p:nvPr/>
        </p:nvSpPr>
        <p:spPr bwMode="auto">
          <a:xfrm>
            <a:off x="641350" y="923925"/>
            <a:ext cx="831850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130000"/>
              </a:lnSpc>
            </a:pPr>
            <a:r>
              <a:rPr lang="zh-CN" altLang="en-US" sz="2000"/>
              <a:t>项目管理过程组指对项目管理过程进行逻辑分组，以达成项目的特定目标。项目管理过程可分为以下五个项目管理过程组：</a:t>
            </a:r>
          </a:p>
        </p:txBody>
      </p:sp>
      <p:sp>
        <p:nvSpPr>
          <p:cNvPr id="63491" name="文本框 1"/>
          <p:cNvSpPr txBox="1">
            <a:spLocks noChangeArrowheads="1"/>
          </p:cNvSpPr>
          <p:nvPr/>
        </p:nvSpPr>
        <p:spPr bwMode="auto">
          <a:xfrm>
            <a:off x="641350" y="5059363"/>
            <a:ext cx="8318500" cy="1169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130000"/>
              </a:lnSpc>
            </a:pPr>
            <a:r>
              <a:rPr lang="zh-CN" altLang="en-US" b="1" smtClean="0"/>
              <a:t> 软考采用</a:t>
            </a:r>
            <a:r>
              <a:rPr lang="zh-CN" altLang="en-US" b="1"/>
              <a:t>流程图。项目管理过程通过具体的输入和输出相互联系，即一个过程的成果或结果可能成为另一个过程（不一定在同一过程组）的输入。请注意，过程组与项目阶段不同。</a:t>
            </a:r>
          </a:p>
        </p:txBody>
      </p:sp>
      <p:graphicFrame>
        <p:nvGraphicFramePr>
          <p:cNvPr id="3" name="表格 2"/>
          <p:cNvGraphicFramePr/>
          <p:nvPr/>
        </p:nvGraphicFramePr>
        <p:xfrm>
          <a:off x="641350" y="1873250"/>
          <a:ext cx="8277225" cy="3253473"/>
        </p:xfrm>
        <a:graphic>
          <a:graphicData uri="http://schemas.openxmlformats.org/drawingml/2006/table">
            <a:tbl>
              <a:tblPr firstRow="1" bandRow="1">
                <a:tableStyleId>{5C22544A-7EE6-4342-B048-85BDC9FD1C3A}</a:tableStyleId>
              </a:tblPr>
              <a:tblGrid>
                <a:gridCol w="1345207"/>
                <a:gridCol w="6932018"/>
              </a:tblGrid>
              <a:tr h="749418">
                <a:tc>
                  <a:txBody>
                    <a:bodyPr/>
                    <a:lstStyle/>
                    <a:p>
                      <a:pPr>
                        <a:lnSpc>
                          <a:spcPct val="120000"/>
                        </a:lnSpc>
                        <a:buNone/>
                      </a:pPr>
                      <a:r>
                        <a:rPr lang="zh-CN" altLang="en-US" sz="1800" b="1" dirty="0">
                          <a:solidFill>
                            <a:srgbClr val="002060"/>
                          </a:solidFill>
                          <a:sym typeface="+mn-ea"/>
                        </a:rPr>
                        <a:t>启动过程组</a:t>
                      </a:r>
                    </a:p>
                  </a:txBody>
                  <a:tcPr marL="91445" marR="91445" marT="45696" marB="45696"/>
                </a:tc>
                <a:tc>
                  <a:txBody>
                    <a:bodyPr/>
                    <a:lstStyle/>
                    <a:p>
                      <a:pPr>
                        <a:lnSpc>
                          <a:spcPct val="120000"/>
                        </a:lnSpc>
                        <a:buNone/>
                      </a:pPr>
                      <a:r>
                        <a:rPr lang="zh-CN" altLang="en-US" sz="1800" b="1" dirty="0">
                          <a:sym typeface="+mn-ea"/>
                        </a:rPr>
                        <a:t>定义一个新项目或现有项目的一个新阶段，授权开始该项目或阶段的一组过程。</a:t>
                      </a:r>
                    </a:p>
                  </a:txBody>
                  <a:tcPr marL="91445" marR="91445" marT="45696" marB="45696"/>
                </a:tc>
              </a:tr>
              <a:tr h="584651">
                <a:tc>
                  <a:txBody>
                    <a:bodyPr/>
                    <a:lstStyle/>
                    <a:p>
                      <a:pPr>
                        <a:lnSpc>
                          <a:spcPct val="120000"/>
                        </a:lnSpc>
                        <a:buNone/>
                      </a:pPr>
                      <a:r>
                        <a:rPr lang="zh-CN" altLang="en-US" sz="1800" b="1">
                          <a:solidFill>
                            <a:srgbClr val="002060"/>
                          </a:solidFill>
                          <a:sym typeface="+mn-ea"/>
                        </a:rPr>
                        <a:t>规划过程组</a:t>
                      </a:r>
                    </a:p>
                  </a:txBody>
                  <a:tcPr marL="91445" marR="91445" marT="45696" marB="45696"/>
                </a:tc>
                <a:tc>
                  <a:txBody>
                    <a:bodyPr/>
                    <a:lstStyle/>
                    <a:p>
                      <a:pPr>
                        <a:lnSpc>
                          <a:spcPct val="120000"/>
                        </a:lnSpc>
                        <a:buNone/>
                      </a:pPr>
                      <a:r>
                        <a:rPr lang="zh-CN" altLang="en-US" sz="1800" b="1" dirty="0">
                          <a:sym typeface="+mn-ea"/>
                        </a:rPr>
                        <a:t>明确项目范围，优化目标，为实现目标制定行动方案的一组过程。</a:t>
                      </a:r>
                    </a:p>
                  </a:txBody>
                  <a:tcPr marL="91445" marR="91445" marT="45696" marB="45696"/>
                </a:tc>
              </a:tr>
              <a:tr h="584651">
                <a:tc>
                  <a:txBody>
                    <a:bodyPr/>
                    <a:lstStyle/>
                    <a:p>
                      <a:pPr>
                        <a:lnSpc>
                          <a:spcPct val="120000"/>
                        </a:lnSpc>
                        <a:buNone/>
                      </a:pPr>
                      <a:r>
                        <a:rPr lang="zh-CN" altLang="en-US" sz="1800" b="1">
                          <a:solidFill>
                            <a:srgbClr val="002060"/>
                          </a:solidFill>
                          <a:sym typeface="+mn-ea"/>
                        </a:rPr>
                        <a:t>执行过程组</a:t>
                      </a:r>
                    </a:p>
                  </a:txBody>
                  <a:tcPr marL="91445" marR="91445" marT="45696" marB="45696"/>
                </a:tc>
                <a:tc>
                  <a:txBody>
                    <a:bodyPr/>
                    <a:lstStyle/>
                    <a:p>
                      <a:pPr>
                        <a:lnSpc>
                          <a:spcPct val="120000"/>
                        </a:lnSpc>
                        <a:buNone/>
                      </a:pPr>
                      <a:r>
                        <a:rPr lang="zh-CN" altLang="en-US" sz="1800" b="1" dirty="0">
                          <a:sym typeface="+mn-ea"/>
                        </a:rPr>
                        <a:t>完成项目管理计划中确定的工作，以满足项目要求的一组过程。</a:t>
                      </a:r>
                    </a:p>
                  </a:txBody>
                  <a:tcPr marL="91445" marR="91445" marT="45696" marB="45696"/>
                </a:tc>
              </a:tr>
              <a:tr h="749418">
                <a:tc>
                  <a:txBody>
                    <a:bodyPr/>
                    <a:lstStyle/>
                    <a:p>
                      <a:pPr>
                        <a:lnSpc>
                          <a:spcPct val="120000"/>
                        </a:lnSpc>
                        <a:buNone/>
                      </a:pPr>
                      <a:r>
                        <a:rPr lang="zh-CN" altLang="en-US" sz="1800" b="1">
                          <a:solidFill>
                            <a:srgbClr val="002060"/>
                          </a:solidFill>
                          <a:sym typeface="+mn-ea"/>
                        </a:rPr>
                        <a:t>监控过程组</a:t>
                      </a:r>
                    </a:p>
                  </a:txBody>
                  <a:tcPr marL="91445" marR="91445" marT="45696" marB="45696"/>
                </a:tc>
                <a:tc>
                  <a:txBody>
                    <a:bodyPr/>
                    <a:lstStyle/>
                    <a:p>
                      <a:pPr>
                        <a:lnSpc>
                          <a:spcPct val="120000"/>
                        </a:lnSpc>
                        <a:buNone/>
                      </a:pPr>
                      <a:r>
                        <a:rPr lang="zh-CN" altLang="en-US" sz="1800" b="1" dirty="0">
                          <a:sym typeface="+mn-ea"/>
                        </a:rPr>
                        <a:t>跟踪、审查和调整项目进展与绩效，识别必要的计划变更并启动相应变更的一组过程。</a:t>
                      </a:r>
                    </a:p>
                  </a:txBody>
                  <a:tcPr marL="91445" marR="91445" marT="45696" marB="45696"/>
                </a:tc>
              </a:tr>
              <a:tr h="584651">
                <a:tc>
                  <a:txBody>
                    <a:bodyPr/>
                    <a:lstStyle/>
                    <a:p>
                      <a:pPr>
                        <a:lnSpc>
                          <a:spcPct val="120000"/>
                        </a:lnSpc>
                        <a:buNone/>
                      </a:pPr>
                      <a:r>
                        <a:rPr lang="zh-CN" altLang="en-US" sz="1800" b="1">
                          <a:solidFill>
                            <a:srgbClr val="002060"/>
                          </a:solidFill>
                          <a:sym typeface="+mn-ea"/>
                        </a:rPr>
                        <a:t>收尾过程组</a:t>
                      </a:r>
                    </a:p>
                  </a:txBody>
                  <a:tcPr marL="91445" marR="91445" marT="45696" marB="45696"/>
                </a:tc>
                <a:tc>
                  <a:txBody>
                    <a:bodyPr/>
                    <a:lstStyle/>
                    <a:p>
                      <a:pPr>
                        <a:lnSpc>
                          <a:spcPct val="120000"/>
                        </a:lnSpc>
                        <a:buNone/>
                      </a:pPr>
                      <a:r>
                        <a:rPr lang="zh-CN" altLang="en-US" sz="1800" b="1" dirty="0">
                          <a:sym typeface="+mn-ea"/>
                        </a:rPr>
                        <a:t>正式完成或结束项目、阶段或合同所执行的过程。</a:t>
                      </a:r>
                    </a:p>
                  </a:txBody>
                  <a:tcPr marL="91445" marR="91445" marT="45696" marB="45696"/>
                </a:tc>
              </a:tr>
            </a:tbl>
          </a:graphicData>
        </a:graphic>
      </p:graphicFrame>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Rectangle 2"/>
          <p:cNvSpPr>
            <a:spLocks noGrp="1" noChangeArrowheads="1"/>
          </p:cNvSpPr>
          <p:nvPr>
            <p:ph type="title"/>
          </p:nvPr>
        </p:nvSpPr>
        <p:spPr>
          <a:xfrm>
            <a:off x="901700" y="727075"/>
            <a:ext cx="8940800" cy="563563"/>
          </a:xfrm>
        </p:spPr>
        <p:txBody>
          <a:bodyPr/>
          <a:lstStyle/>
          <a:p>
            <a:pPr eaLnBrk="1" hangingPunct="1"/>
            <a:r>
              <a:rPr sz="4000" smtClean="0"/>
              <a:t>项目管理知识领域</a:t>
            </a:r>
          </a:p>
        </p:txBody>
      </p:sp>
      <p:sp>
        <p:nvSpPr>
          <p:cNvPr id="65538" name="文本框 1"/>
          <p:cNvSpPr txBox="1">
            <a:spLocks noChangeArrowheads="1"/>
          </p:cNvSpPr>
          <p:nvPr/>
        </p:nvSpPr>
        <p:spPr bwMode="auto">
          <a:xfrm>
            <a:off x="669925" y="1874838"/>
            <a:ext cx="8474075" cy="2433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110000"/>
              </a:lnSpc>
            </a:pPr>
            <a:r>
              <a:rPr lang="zh-CN" altLang="en-US" sz="2800"/>
              <a:t>过程还可以按知识领域进行分类。知识领域指按所需知识内容来定义的项目管理领域，并用其所含过程、实践、输入、输出、工具和技术进行描述。</a:t>
            </a:r>
            <a:r>
              <a:rPr lang="zh-CN" altLang="en-US" sz="2800" b="1" u="sng">
                <a:solidFill>
                  <a:srgbClr val="C00000"/>
                </a:solidFill>
              </a:rPr>
              <a:t>知识领域相互联系</a:t>
            </a:r>
            <a:r>
              <a:rPr lang="zh-CN" altLang="en-US" sz="2800"/>
              <a:t>，但从项目管理的角度来看，它们是分别定义的。</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占位符 3"/>
          <p:cNvGraphicFramePr>
            <a:graphicFrameLocks noGrp="1"/>
          </p:cNvGraphicFramePr>
          <p:nvPr>
            <p:ph type="tbl" idx="1"/>
            <p:extLst>
              <p:ext uri="{D42A27DB-BD31-4B8C-83A1-F6EECF244321}">
                <p14:modId xmlns:p14="http://schemas.microsoft.com/office/powerpoint/2010/main" val="1144525286"/>
              </p:ext>
            </p:extLst>
          </p:nvPr>
        </p:nvGraphicFramePr>
        <p:xfrm>
          <a:off x="593725" y="395288"/>
          <a:ext cx="8613337" cy="5887396"/>
        </p:xfrm>
        <a:graphic>
          <a:graphicData uri="http://schemas.openxmlformats.org/drawingml/2006/table">
            <a:tbl>
              <a:tblPr firstRow="1" bandRow="1">
                <a:tableStyleId>{5C22544A-7EE6-4342-B048-85BDC9FD1C3A}</a:tableStyleId>
              </a:tblPr>
              <a:tblGrid>
                <a:gridCol w="1928758"/>
                <a:gridCol w="6684579"/>
              </a:tblGrid>
              <a:tr h="675664">
                <a:tc>
                  <a:txBody>
                    <a:bodyPr/>
                    <a:lstStyle/>
                    <a:p>
                      <a:pPr>
                        <a:lnSpc>
                          <a:spcPct val="120000"/>
                        </a:lnSpc>
                        <a:buNone/>
                      </a:pPr>
                      <a:r>
                        <a:rPr lang="zh-CN" altLang="en-US" sz="1600" b="1" dirty="0">
                          <a:solidFill>
                            <a:srgbClr val="002060"/>
                          </a:solidFill>
                          <a:sym typeface="+mn-ea"/>
                        </a:rPr>
                        <a:t>项目整合管理</a:t>
                      </a:r>
                    </a:p>
                  </a:txBody>
                  <a:tcPr marL="91433" marR="91433" marT="45653" marB="45653"/>
                </a:tc>
                <a:tc>
                  <a:txBody>
                    <a:bodyPr/>
                    <a:lstStyle/>
                    <a:p>
                      <a:pPr>
                        <a:lnSpc>
                          <a:spcPct val="120000"/>
                        </a:lnSpc>
                        <a:buNone/>
                      </a:pPr>
                      <a:r>
                        <a:rPr lang="zh-CN" altLang="en-US" sz="1600" dirty="0">
                          <a:sym typeface="+mn-ea"/>
                        </a:rPr>
                        <a:t>包括为识别、定义、组合、统一和协调各项目管理过程组的各个过程和活动而开展的过程与活动。</a:t>
                      </a:r>
                    </a:p>
                  </a:txBody>
                  <a:tcPr marL="91433" marR="91433" marT="45653" marB="45653"/>
                </a:tc>
              </a:tr>
              <a:tr h="383485">
                <a:tc>
                  <a:txBody>
                    <a:bodyPr/>
                    <a:lstStyle/>
                    <a:p>
                      <a:pPr>
                        <a:lnSpc>
                          <a:spcPct val="120000"/>
                        </a:lnSpc>
                        <a:buNone/>
                      </a:pPr>
                      <a:r>
                        <a:rPr lang="zh-CN" altLang="en-US" sz="1600" b="1" dirty="0">
                          <a:solidFill>
                            <a:srgbClr val="002060"/>
                          </a:solidFill>
                          <a:sym typeface="+mn-ea"/>
                        </a:rPr>
                        <a:t>项目范围管理</a:t>
                      </a:r>
                    </a:p>
                  </a:txBody>
                  <a:tcPr marL="91433" marR="91433" marT="45653" marB="45653"/>
                </a:tc>
                <a:tc>
                  <a:txBody>
                    <a:bodyPr/>
                    <a:lstStyle/>
                    <a:p>
                      <a:pPr>
                        <a:lnSpc>
                          <a:spcPct val="120000"/>
                        </a:lnSpc>
                        <a:buNone/>
                      </a:pPr>
                      <a:r>
                        <a:rPr lang="zh-CN" altLang="en-US" sz="1600" b="1" dirty="0">
                          <a:sym typeface="+mn-ea"/>
                        </a:rPr>
                        <a:t>包括确保项目做且只做所需的全部工作以成功完成项目的各个过程。</a:t>
                      </a:r>
                    </a:p>
                  </a:txBody>
                  <a:tcPr marL="91433" marR="91433" marT="45653" marB="45653"/>
                </a:tc>
              </a:tr>
              <a:tr h="383485">
                <a:tc>
                  <a:txBody>
                    <a:bodyPr/>
                    <a:lstStyle/>
                    <a:p>
                      <a:pPr>
                        <a:lnSpc>
                          <a:spcPct val="120000"/>
                        </a:lnSpc>
                        <a:buNone/>
                      </a:pPr>
                      <a:r>
                        <a:rPr lang="zh-CN" altLang="en-US" sz="1600" b="1">
                          <a:solidFill>
                            <a:srgbClr val="002060"/>
                          </a:solidFill>
                          <a:sym typeface="+mn-ea"/>
                        </a:rPr>
                        <a:t>项目进度管理</a:t>
                      </a:r>
                    </a:p>
                  </a:txBody>
                  <a:tcPr marL="91433" marR="91433" marT="45653" marB="45653"/>
                </a:tc>
                <a:tc>
                  <a:txBody>
                    <a:bodyPr/>
                    <a:lstStyle/>
                    <a:p>
                      <a:pPr>
                        <a:lnSpc>
                          <a:spcPct val="120000"/>
                        </a:lnSpc>
                        <a:buNone/>
                      </a:pPr>
                      <a:r>
                        <a:rPr lang="zh-CN" altLang="en-US" sz="1600" b="1" dirty="0">
                          <a:sym typeface="+mn-ea"/>
                        </a:rPr>
                        <a:t>包括为管理项目按时完成所需的各个过程。</a:t>
                      </a:r>
                    </a:p>
                  </a:txBody>
                  <a:tcPr marL="91433" marR="91433" marT="45653" marB="45653"/>
                </a:tc>
              </a:tr>
              <a:tr h="675664">
                <a:tc>
                  <a:txBody>
                    <a:bodyPr/>
                    <a:lstStyle/>
                    <a:p>
                      <a:pPr>
                        <a:lnSpc>
                          <a:spcPct val="120000"/>
                        </a:lnSpc>
                        <a:buNone/>
                      </a:pPr>
                      <a:r>
                        <a:rPr lang="zh-CN" altLang="en-US" sz="1600" b="1">
                          <a:solidFill>
                            <a:srgbClr val="002060"/>
                          </a:solidFill>
                          <a:sym typeface="+mn-ea"/>
                        </a:rPr>
                        <a:t>项目成本管理</a:t>
                      </a:r>
                    </a:p>
                  </a:txBody>
                  <a:tcPr marL="91433" marR="91433" marT="45653" marB="45653"/>
                </a:tc>
                <a:tc>
                  <a:txBody>
                    <a:bodyPr/>
                    <a:lstStyle/>
                    <a:p>
                      <a:pPr>
                        <a:lnSpc>
                          <a:spcPct val="120000"/>
                        </a:lnSpc>
                        <a:buNone/>
                      </a:pPr>
                      <a:r>
                        <a:rPr lang="zh-CN" altLang="en-US" sz="1600" b="1" dirty="0">
                          <a:sym typeface="+mn-ea"/>
                        </a:rPr>
                        <a:t>包括为使项目在批准的预算内完成而对成本进行规划、估算、预算、融资、筹资、管理和控制的各个过程。</a:t>
                      </a:r>
                    </a:p>
                  </a:txBody>
                  <a:tcPr marL="91433" marR="91433" marT="45653" marB="45653"/>
                </a:tc>
              </a:tr>
              <a:tr h="675664">
                <a:tc>
                  <a:txBody>
                    <a:bodyPr/>
                    <a:lstStyle/>
                    <a:p>
                      <a:pPr>
                        <a:lnSpc>
                          <a:spcPct val="120000"/>
                        </a:lnSpc>
                        <a:buNone/>
                      </a:pPr>
                      <a:r>
                        <a:rPr lang="zh-CN" altLang="en-US" sz="1600" b="1">
                          <a:solidFill>
                            <a:srgbClr val="002060"/>
                          </a:solidFill>
                          <a:sym typeface="+mn-ea"/>
                        </a:rPr>
                        <a:t>项目质量管理</a:t>
                      </a:r>
                    </a:p>
                  </a:txBody>
                  <a:tcPr marL="91433" marR="91433" marT="45653" marB="45653"/>
                </a:tc>
                <a:tc>
                  <a:txBody>
                    <a:bodyPr/>
                    <a:lstStyle/>
                    <a:p>
                      <a:pPr>
                        <a:lnSpc>
                          <a:spcPct val="120000"/>
                        </a:lnSpc>
                        <a:buNone/>
                      </a:pPr>
                      <a:r>
                        <a:rPr lang="zh-CN" altLang="en-US" sz="1600" b="1" dirty="0">
                          <a:sym typeface="+mn-ea"/>
                        </a:rPr>
                        <a:t>包括把组织的质量政策应用于规划、管理、控制项目和产品质量要求，</a:t>
                      </a:r>
                      <a:r>
                        <a:rPr lang="zh-CN" altLang="en-US" sz="1600" b="1">
                          <a:sym typeface="+mn-ea"/>
                        </a:rPr>
                        <a:t>以</a:t>
                      </a:r>
                      <a:r>
                        <a:rPr lang="zh-CN" altLang="en-US" sz="1600" b="1" smtClean="0">
                          <a:sym typeface="+mn-ea"/>
                        </a:rPr>
                        <a:t>满足干系人的</a:t>
                      </a:r>
                      <a:r>
                        <a:rPr lang="zh-CN" altLang="en-US" sz="1600" b="1" dirty="0">
                          <a:sym typeface="+mn-ea"/>
                        </a:rPr>
                        <a:t>期望的各个过程。</a:t>
                      </a:r>
                    </a:p>
                  </a:txBody>
                  <a:tcPr marL="91433" marR="91433" marT="45653" marB="45653"/>
                </a:tc>
              </a:tr>
              <a:tr h="383485">
                <a:tc>
                  <a:txBody>
                    <a:bodyPr/>
                    <a:lstStyle/>
                    <a:p>
                      <a:pPr>
                        <a:lnSpc>
                          <a:spcPct val="120000"/>
                        </a:lnSpc>
                        <a:buNone/>
                      </a:pPr>
                      <a:r>
                        <a:rPr lang="zh-CN" altLang="en-US" sz="1600" b="1" smtClean="0">
                          <a:solidFill>
                            <a:srgbClr val="002060"/>
                          </a:solidFill>
                          <a:sym typeface="+mn-ea"/>
                        </a:rPr>
                        <a:t>项目人力资源管理</a:t>
                      </a:r>
                      <a:endParaRPr lang="zh-CN" altLang="en-US" sz="1600" b="1">
                        <a:solidFill>
                          <a:srgbClr val="002060"/>
                        </a:solidFill>
                        <a:sym typeface="+mn-ea"/>
                      </a:endParaRPr>
                    </a:p>
                  </a:txBody>
                  <a:tcPr marL="91433" marR="91433" marT="45653" marB="45653"/>
                </a:tc>
                <a:tc>
                  <a:txBody>
                    <a:bodyPr/>
                    <a:lstStyle/>
                    <a:p>
                      <a:pPr>
                        <a:lnSpc>
                          <a:spcPct val="120000"/>
                        </a:lnSpc>
                        <a:buNone/>
                      </a:pPr>
                      <a:r>
                        <a:rPr lang="zh-CN" altLang="en-US" sz="1600" b="1" smtClean="0">
                          <a:sym typeface="+mn-ea"/>
                        </a:rPr>
                        <a:t>包括人力资源规划、团队组建、团队建设、团队管理。</a:t>
                      </a:r>
                      <a:endParaRPr lang="zh-CN" altLang="en-US" sz="1600" b="1" dirty="0">
                        <a:sym typeface="+mn-ea"/>
                      </a:endParaRPr>
                    </a:p>
                  </a:txBody>
                  <a:tcPr marL="91433" marR="91433" marT="45653" marB="45653"/>
                </a:tc>
              </a:tr>
              <a:tr h="675664">
                <a:tc>
                  <a:txBody>
                    <a:bodyPr/>
                    <a:lstStyle/>
                    <a:p>
                      <a:pPr>
                        <a:lnSpc>
                          <a:spcPct val="120000"/>
                        </a:lnSpc>
                        <a:buNone/>
                      </a:pPr>
                      <a:r>
                        <a:rPr lang="zh-CN" altLang="en-US" sz="1600" b="1">
                          <a:solidFill>
                            <a:srgbClr val="002060"/>
                          </a:solidFill>
                          <a:sym typeface="+mn-ea"/>
                        </a:rPr>
                        <a:t>项目沟通管理</a:t>
                      </a:r>
                    </a:p>
                  </a:txBody>
                  <a:tcPr marL="91433" marR="91433" marT="45653" marB="45653"/>
                </a:tc>
                <a:tc>
                  <a:txBody>
                    <a:bodyPr/>
                    <a:lstStyle/>
                    <a:p>
                      <a:pPr>
                        <a:lnSpc>
                          <a:spcPct val="120000"/>
                        </a:lnSpc>
                        <a:buNone/>
                      </a:pPr>
                      <a:r>
                        <a:rPr lang="zh-CN" altLang="en-US" sz="1600" b="1" dirty="0">
                          <a:sym typeface="+mn-ea"/>
                        </a:rPr>
                        <a:t>包括为确保项目信息及时且恰当地规划、收集、生成、发布、存储、检索、管理、控制、监督和最终处置所需的各个过程。</a:t>
                      </a:r>
                    </a:p>
                  </a:txBody>
                  <a:tcPr marL="91433" marR="91433" marT="45653" marB="45653"/>
                </a:tc>
              </a:tr>
              <a:tr h="675664">
                <a:tc>
                  <a:txBody>
                    <a:bodyPr/>
                    <a:lstStyle/>
                    <a:p>
                      <a:pPr>
                        <a:lnSpc>
                          <a:spcPct val="120000"/>
                        </a:lnSpc>
                        <a:buNone/>
                      </a:pPr>
                      <a:r>
                        <a:rPr lang="zh-CN" altLang="en-US" sz="1600" b="1">
                          <a:solidFill>
                            <a:srgbClr val="002060"/>
                          </a:solidFill>
                          <a:sym typeface="+mn-ea"/>
                        </a:rPr>
                        <a:t>项目风险管理</a:t>
                      </a:r>
                    </a:p>
                  </a:txBody>
                  <a:tcPr marL="91433" marR="91433" marT="45653" marB="45653"/>
                </a:tc>
                <a:tc>
                  <a:txBody>
                    <a:bodyPr/>
                    <a:lstStyle/>
                    <a:p>
                      <a:pPr>
                        <a:lnSpc>
                          <a:spcPct val="120000"/>
                        </a:lnSpc>
                        <a:buNone/>
                      </a:pPr>
                      <a:r>
                        <a:rPr lang="zh-CN" altLang="en-US" sz="1600" b="1" dirty="0">
                          <a:sym typeface="+mn-ea"/>
                        </a:rPr>
                        <a:t>包括规划风险管理、识别风险、开展风险分析、规划</a:t>
                      </a:r>
                      <a:r>
                        <a:rPr lang="zh-CN" altLang="en-US" sz="1600" b="1">
                          <a:sym typeface="+mn-ea"/>
                        </a:rPr>
                        <a:t>风险</a:t>
                      </a:r>
                      <a:r>
                        <a:rPr lang="zh-CN" altLang="en-US" sz="1600" b="1" smtClean="0">
                          <a:sym typeface="+mn-ea"/>
                        </a:rPr>
                        <a:t>应对和</a:t>
                      </a:r>
                      <a:r>
                        <a:rPr lang="zh-CN" altLang="en-US" sz="1600" b="1" dirty="0">
                          <a:sym typeface="+mn-ea"/>
                        </a:rPr>
                        <a:t>监督风险的各个过程。</a:t>
                      </a:r>
                    </a:p>
                  </a:txBody>
                  <a:tcPr marL="91433" marR="91433" marT="45653" marB="45653"/>
                </a:tc>
              </a:tr>
              <a:tr h="383485">
                <a:tc>
                  <a:txBody>
                    <a:bodyPr/>
                    <a:lstStyle/>
                    <a:p>
                      <a:pPr>
                        <a:lnSpc>
                          <a:spcPct val="120000"/>
                        </a:lnSpc>
                        <a:buNone/>
                      </a:pPr>
                      <a:r>
                        <a:rPr lang="zh-CN" altLang="en-US" sz="1600" b="1">
                          <a:solidFill>
                            <a:srgbClr val="002060"/>
                          </a:solidFill>
                          <a:sym typeface="+mn-ea"/>
                        </a:rPr>
                        <a:t>项目采购管理</a:t>
                      </a:r>
                    </a:p>
                  </a:txBody>
                  <a:tcPr marL="91433" marR="91433" marT="45653" marB="45653"/>
                </a:tc>
                <a:tc>
                  <a:txBody>
                    <a:bodyPr/>
                    <a:lstStyle/>
                    <a:p>
                      <a:pPr>
                        <a:lnSpc>
                          <a:spcPct val="120000"/>
                        </a:lnSpc>
                        <a:buNone/>
                      </a:pPr>
                      <a:r>
                        <a:rPr lang="zh-CN" altLang="en-US" sz="1600" b="1" dirty="0">
                          <a:sym typeface="+mn-ea"/>
                        </a:rPr>
                        <a:t>包括从项目团队外部采购或获取所需产品、服务或成果的各个过程。</a:t>
                      </a:r>
                    </a:p>
                  </a:txBody>
                  <a:tcPr marL="91433" marR="91433" marT="45653" marB="45653"/>
                </a:tc>
              </a:tr>
              <a:tr h="967843">
                <a:tc>
                  <a:txBody>
                    <a:bodyPr/>
                    <a:lstStyle/>
                    <a:p>
                      <a:pPr>
                        <a:lnSpc>
                          <a:spcPct val="120000"/>
                        </a:lnSpc>
                        <a:buNone/>
                      </a:pPr>
                      <a:r>
                        <a:rPr lang="zh-CN" altLang="en-US" sz="1600" b="1" smtClean="0">
                          <a:solidFill>
                            <a:srgbClr val="002060"/>
                          </a:solidFill>
                          <a:sym typeface="+mn-ea"/>
                        </a:rPr>
                        <a:t>项目干系人管理</a:t>
                      </a:r>
                      <a:endParaRPr lang="zh-CN" altLang="en-US" sz="1600" b="1" dirty="0">
                        <a:solidFill>
                          <a:srgbClr val="002060"/>
                        </a:solidFill>
                        <a:sym typeface="+mn-ea"/>
                      </a:endParaRPr>
                    </a:p>
                  </a:txBody>
                  <a:tcPr marL="91433" marR="91433" marT="45653" marB="45653"/>
                </a:tc>
                <a:tc>
                  <a:txBody>
                    <a:bodyPr/>
                    <a:lstStyle/>
                    <a:p>
                      <a:pPr>
                        <a:lnSpc>
                          <a:spcPct val="120000"/>
                        </a:lnSpc>
                        <a:buNone/>
                      </a:pPr>
                      <a:r>
                        <a:rPr lang="zh-CN" altLang="en-US" sz="1600" b="1" dirty="0">
                          <a:sym typeface="+mn-ea"/>
                        </a:rPr>
                        <a:t>包括用于开展下列工作的各个过程：识别影响或受项目影响的人员、团队或组织</a:t>
                      </a:r>
                      <a:r>
                        <a:rPr lang="zh-CN" altLang="en-US" sz="1600" b="1">
                          <a:sym typeface="+mn-ea"/>
                        </a:rPr>
                        <a:t>，</a:t>
                      </a:r>
                      <a:r>
                        <a:rPr lang="zh-CN" altLang="en-US" sz="1600" b="1" smtClean="0">
                          <a:sym typeface="+mn-ea"/>
                        </a:rPr>
                        <a:t>分析干系人对</a:t>
                      </a:r>
                      <a:r>
                        <a:rPr lang="zh-CN" altLang="en-US" sz="1600" b="1" dirty="0">
                          <a:sym typeface="+mn-ea"/>
                        </a:rPr>
                        <a:t>项目的期望和影响，制定合适的管理策略来</a:t>
                      </a:r>
                      <a:r>
                        <a:rPr lang="zh-CN" altLang="en-US" sz="1600" b="1">
                          <a:sym typeface="+mn-ea"/>
                        </a:rPr>
                        <a:t>有效</a:t>
                      </a:r>
                      <a:r>
                        <a:rPr lang="zh-CN" altLang="en-US" sz="1600" b="1" smtClean="0">
                          <a:sym typeface="+mn-ea"/>
                        </a:rPr>
                        <a:t>调动干系人参与</a:t>
                      </a:r>
                      <a:r>
                        <a:rPr lang="zh-CN" altLang="en-US" sz="1600" b="1" dirty="0">
                          <a:sym typeface="+mn-ea"/>
                        </a:rPr>
                        <a:t>项目决策和执行。</a:t>
                      </a:r>
                    </a:p>
                  </a:txBody>
                  <a:tcPr marL="91433" marR="91433" marT="45653" marB="45653"/>
                </a:tc>
              </a:tr>
            </a:tbl>
          </a:graphicData>
        </a:graphic>
      </p:graphicFrame>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Rectangle 2"/>
          <p:cNvSpPr>
            <a:spLocks noGrp="1" noChangeArrowheads="1"/>
          </p:cNvSpPr>
          <p:nvPr>
            <p:ph type="title"/>
          </p:nvPr>
        </p:nvSpPr>
        <p:spPr>
          <a:xfrm>
            <a:off x="708025" y="514350"/>
            <a:ext cx="7742238" cy="398463"/>
          </a:xfrm>
        </p:spPr>
        <p:txBody>
          <a:bodyPr/>
          <a:lstStyle/>
          <a:p>
            <a:pPr eaLnBrk="1" hangingPunct="1"/>
            <a:r>
              <a:rPr smtClean="0"/>
              <a:t>项目管理知识领域</a:t>
            </a:r>
          </a:p>
        </p:txBody>
      </p:sp>
      <p:sp>
        <p:nvSpPr>
          <p:cNvPr id="2" name="五角星 1"/>
          <p:cNvSpPr/>
          <p:nvPr/>
        </p:nvSpPr>
        <p:spPr>
          <a:xfrm>
            <a:off x="4451350" y="560388"/>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7" name="五角星 6"/>
          <p:cNvSpPr/>
          <p:nvPr/>
        </p:nvSpPr>
        <p:spPr>
          <a:xfrm>
            <a:off x="4700588" y="560388"/>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0" name="五角星 9"/>
          <p:cNvSpPr/>
          <p:nvPr/>
        </p:nvSpPr>
        <p:spPr>
          <a:xfrm>
            <a:off x="4957763" y="55721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1" name="五角星 10"/>
          <p:cNvSpPr/>
          <p:nvPr/>
        </p:nvSpPr>
        <p:spPr>
          <a:xfrm>
            <a:off x="5197475" y="560388"/>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2" name="五角星 11"/>
          <p:cNvSpPr/>
          <p:nvPr/>
        </p:nvSpPr>
        <p:spPr>
          <a:xfrm>
            <a:off x="5443538" y="560388"/>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3" name="五角星 12"/>
          <p:cNvSpPr/>
          <p:nvPr/>
        </p:nvSpPr>
        <p:spPr>
          <a:xfrm>
            <a:off x="3944938" y="565150"/>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4" name="五角星 13"/>
          <p:cNvSpPr/>
          <p:nvPr/>
        </p:nvSpPr>
        <p:spPr>
          <a:xfrm>
            <a:off x="4191000" y="565150"/>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graphicFrame>
        <p:nvGraphicFramePr>
          <p:cNvPr id="15" name="Group 2"/>
          <p:cNvGraphicFramePr>
            <a:graphicFrameLocks noGrp="1"/>
          </p:cNvGraphicFramePr>
          <p:nvPr>
            <p:extLst>
              <p:ext uri="{D42A27DB-BD31-4B8C-83A1-F6EECF244321}">
                <p14:modId xmlns:p14="http://schemas.microsoft.com/office/powerpoint/2010/main" val="1824549491"/>
              </p:ext>
            </p:extLst>
          </p:nvPr>
        </p:nvGraphicFramePr>
        <p:xfrm>
          <a:off x="586543" y="1039811"/>
          <a:ext cx="8742440" cy="5081588"/>
        </p:xfrm>
        <a:graphic>
          <a:graphicData uri="http://schemas.openxmlformats.org/drawingml/2006/table">
            <a:tbl>
              <a:tblPr/>
              <a:tblGrid>
                <a:gridCol w="1194358"/>
                <a:gridCol w="856795"/>
                <a:gridCol w="3409631"/>
                <a:gridCol w="1008294"/>
                <a:gridCol w="1302328"/>
                <a:gridCol w="971034"/>
              </a:tblGrid>
              <a:tr h="461071">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知识领域</a:t>
                      </a:r>
                    </a:p>
                  </a:txBody>
                  <a:tcPr marL="84406" marR="84406" marT="45703" marB="4570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启动过程组</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计划过程组</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执行过程组</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控制过程组</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收尾过程组</a:t>
                      </a:r>
                    </a:p>
                  </a:txBody>
                  <a:tcPr marL="84406" marR="84406" marT="45703" marB="4570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r>
              <a:tr h="487763">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项目整体管理</a:t>
                      </a:r>
                    </a:p>
                  </a:txBody>
                  <a:tcPr marL="84406" marR="84406" marT="45703" marB="4570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制定项目章程</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编制项目管理计划</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指导和管理项目执行</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监控项目工作、整体变更控制</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项目收尾</a:t>
                      </a:r>
                    </a:p>
                  </a:txBody>
                  <a:tcPr marL="84406" marR="84406" marT="45703" marB="4570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97959">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项目范围管理</a:t>
                      </a:r>
                    </a:p>
                  </a:txBody>
                  <a:tcPr marL="84406" marR="84406" marT="45703" marB="4570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endParaRPr kumimoji="0" lang="zh-CN" altLang="en-US" sz="1200" b="1" i="0" u="none" strike="noStrike" cap="none" normalizeH="0" baseline="0" dirty="0" smtClean="0">
                        <a:ln>
                          <a:noFill/>
                        </a:ln>
                        <a:solidFill>
                          <a:schemeClr val="tx1"/>
                        </a:solidFill>
                        <a:effectLst/>
                        <a:latin typeface="+mn-ea"/>
                        <a:ea typeface="+mn-ea"/>
                      </a:endParaRP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编制范围管理计划、收集需求、范围定义、建立</a:t>
                      </a:r>
                      <a:r>
                        <a:rPr kumimoji="0" lang="en-US" altLang="zh-CN" sz="1200" b="1" i="0" u="none" strike="noStrike" cap="none" normalizeH="0" baseline="0" dirty="0" smtClean="0">
                          <a:ln>
                            <a:noFill/>
                          </a:ln>
                          <a:solidFill>
                            <a:schemeClr val="tx1"/>
                          </a:solidFill>
                          <a:effectLst/>
                          <a:latin typeface="+mn-ea"/>
                          <a:ea typeface="+mn-ea"/>
                        </a:rPr>
                        <a:t>WBS</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endParaRPr kumimoji="0" lang="zh-CN" altLang="en-US" sz="1200" b="1" i="0" u="none" strike="noStrike" cap="none" normalizeH="0" baseline="0" smtClean="0">
                        <a:ln>
                          <a:noFill/>
                        </a:ln>
                        <a:solidFill>
                          <a:schemeClr val="tx1"/>
                        </a:solidFill>
                        <a:effectLst/>
                        <a:latin typeface="+mn-ea"/>
                        <a:ea typeface="+mn-ea"/>
                      </a:endParaRP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范围核实</a:t>
                      </a:r>
                    </a:p>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范围控制</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endParaRPr kumimoji="0" lang="zh-CN" altLang="en-US" sz="1200" b="1" i="0" u="none" strike="noStrike" cap="none" normalizeH="0" baseline="0" dirty="0" smtClean="0">
                        <a:ln>
                          <a:noFill/>
                        </a:ln>
                        <a:solidFill>
                          <a:schemeClr val="tx1"/>
                        </a:solidFill>
                        <a:effectLst/>
                        <a:latin typeface="+mn-ea"/>
                        <a:ea typeface="+mn-ea"/>
                      </a:endParaRPr>
                    </a:p>
                  </a:txBody>
                  <a:tcPr marL="84406" marR="84406" marT="45703" marB="4570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7763">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smtClean="0">
                          <a:ln>
                            <a:noFill/>
                          </a:ln>
                          <a:solidFill>
                            <a:schemeClr val="tx1"/>
                          </a:solidFill>
                          <a:effectLst/>
                          <a:latin typeface="+mn-ea"/>
                          <a:ea typeface="+mn-ea"/>
                        </a:rPr>
                        <a:t>项目时间管理</a:t>
                      </a:r>
                    </a:p>
                  </a:txBody>
                  <a:tcPr marL="84406" marR="84406" marT="45703" marB="4570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endParaRPr kumimoji="0" lang="zh-CN" altLang="en-US" sz="1200" b="1" i="0" u="none" strike="noStrike" cap="none" normalizeH="0" baseline="0" dirty="0" smtClean="0">
                        <a:ln>
                          <a:noFill/>
                        </a:ln>
                        <a:solidFill>
                          <a:schemeClr val="tx1"/>
                        </a:solidFill>
                        <a:effectLst/>
                        <a:latin typeface="+mn-ea"/>
                        <a:ea typeface="+mn-ea"/>
                      </a:endParaRP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编制进度管理计划、活动定义、活动排序、资源估算、历时估算、制定进度计划</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endParaRPr kumimoji="0" lang="zh-CN" altLang="en-US" sz="1200" b="1" i="0" u="none" strike="noStrike" cap="none" normalizeH="0" baseline="0" dirty="0" smtClean="0">
                        <a:ln>
                          <a:noFill/>
                        </a:ln>
                        <a:solidFill>
                          <a:schemeClr val="tx1"/>
                        </a:solidFill>
                        <a:effectLst/>
                        <a:latin typeface="+mn-ea"/>
                        <a:ea typeface="+mn-ea"/>
                      </a:endParaRP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进度控制</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endParaRPr kumimoji="0" lang="zh-CN" altLang="en-US" sz="1200" b="1" i="0" u="none" strike="noStrike" cap="none" normalizeH="0" baseline="0" smtClean="0">
                        <a:ln>
                          <a:noFill/>
                        </a:ln>
                        <a:solidFill>
                          <a:schemeClr val="tx1"/>
                        </a:solidFill>
                        <a:effectLst/>
                        <a:latin typeface="+mn-ea"/>
                        <a:ea typeface="+mn-ea"/>
                      </a:endParaRPr>
                    </a:p>
                  </a:txBody>
                  <a:tcPr marL="84406" marR="84406" marT="45703" marB="4570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69727">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smtClean="0">
                          <a:ln>
                            <a:noFill/>
                          </a:ln>
                          <a:solidFill>
                            <a:schemeClr val="tx1"/>
                          </a:solidFill>
                          <a:effectLst/>
                          <a:latin typeface="+mn-ea"/>
                          <a:ea typeface="+mn-ea"/>
                        </a:rPr>
                        <a:t>项目成本管理</a:t>
                      </a:r>
                    </a:p>
                  </a:txBody>
                  <a:tcPr marL="84406" marR="84406" marT="45703" marB="4570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endParaRPr kumimoji="0" lang="zh-CN" altLang="en-US" sz="1200" b="1" i="0" u="none" strike="noStrike" cap="none" normalizeH="0" baseline="0" smtClean="0">
                        <a:ln>
                          <a:noFill/>
                        </a:ln>
                        <a:solidFill>
                          <a:schemeClr val="tx1"/>
                        </a:solidFill>
                        <a:effectLst/>
                        <a:latin typeface="+mn-ea"/>
                        <a:ea typeface="+mn-ea"/>
                      </a:endParaRP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编制成本管理计划、成本估算、成本预算</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endParaRPr kumimoji="0" lang="zh-CN" altLang="en-US" sz="1200" b="1" i="0" u="none" strike="noStrike" cap="none" normalizeH="0" baseline="0" dirty="0" smtClean="0">
                        <a:ln>
                          <a:noFill/>
                        </a:ln>
                        <a:solidFill>
                          <a:schemeClr val="tx1"/>
                        </a:solidFill>
                        <a:effectLst/>
                        <a:latin typeface="+mn-ea"/>
                        <a:ea typeface="+mn-ea"/>
                      </a:endParaRP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成本控制</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endParaRPr kumimoji="0" lang="zh-CN" altLang="en-US" sz="1200" b="1" i="0" u="none" strike="noStrike" cap="none" normalizeH="0" baseline="0" smtClean="0">
                        <a:ln>
                          <a:noFill/>
                        </a:ln>
                        <a:solidFill>
                          <a:schemeClr val="tx1"/>
                        </a:solidFill>
                        <a:effectLst/>
                        <a:latin typeface="+mn-ea"/>
                        <a:ea typeface="+mn-ea"/>
                      </a:endParaRPr>
                    </a:p>
                  </a:txBody>
                  <a:tcPr marL="84406" marR="84406" marT="45703" marB="4570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69727">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项目质量管理</a:t>
                      </a:r>
                    </a:p>
                  </a:txBody>
                  <a:tcPr marL="84406" marR="84406" marT="45703" marB="4570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endParaRPr kumimoji="0" lang="zh-CN" altLang="en-US" sz="1200" b="1" i="0" u="none" strike="noStrike" cap="none" normalizeH="0" baseline="0" smtClean="0">
                        <a:ln>
                          <a:noFill/>
                        </a:ln>
                        <a:solidFill>
                          <a:schemeClr val="tx1"/>
                        </a:solidFill>
                        <a:effectLst/>
                        <a:latin typeface="+mn-ea"/>
                        <a:ea typeface="+mn-ea"/>
                      </a:endParaRP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制定质量管理计划</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smtClean="0">
                          <a:ln>
                            <a:noFill/>
                          </a:ln>
                          <a:solidFill>
                            <a:schemeClr val="tx1"/>
                          </a:solidFill>
                          <a:effectLst/>
                          <a:latin typeface="+mn-ea"/>
                          <a:ea typeface="+mn-ea"/>
                        </a:rPr>
                        <a:t>质量保证</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质量控制</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endParaRPr kumimoji="0" lang="zh-CN" altLang="en-US" sz="1200" b="1" i="0" u="none" strike="noStrike" cap="none" normalizeH="0" baseline="0" smtClean="0">
                        <a:ln>
                          <a:noFill/>
                        </a:ln>
                        <a:solidFill>
                          <a:schemeClr val="tx1"/>
                        </a:solidFill>
                        <a:effectLst/>
                        <a:latin typeface="+mn-ea"/>
                        <a:ea typeface="+mn-ea"/>
                      </a:endParaRPr>
                    </a:p>
                  </a:txBody>
                  <a:tcPr marL="84406" marR="84406" marT="45703" marB="4570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19290">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smtClean="0">
                          <a:ln>
                            <a:noFill/>
                          </a:ln>
                          <a:solidFill>
                            <a:schemeClr val="tx1"/>
                          </a:solidFill>
                          <a:effectLst/>
                          <a:latin typeface="+mn-ea"/>
                          <a:ea typeface="+mn-ea"/>
                        </a:rPr>
                        <a:t>人力资源管理</a:t>
                      </a:r>
                    </a:p>
                  </a:txBody>
                  <a:tcPr marL="84406" marR="84406" marT="45703" marB="4570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endParaRPr kumimoji="0" lang="zh-CN" altLang="en-US" sz="1200" b="1" i="0" u="none" strike="noStrike" cap="none" normalizeH="0" baseline="0" smtClean="0">
                        <a:ln>
                          <a:noFill/>
                        </a:ln>
                        <a:solidFill>
                          <a:schemeClr val="tx1"/>
                        </a:solidFill>
                        <a:effectLst/>
                        <a:latin typeface="+mn-ea"/>
                        <a:ea typeface="+mn-ea"/>
                      </a:endParaRP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制定人力资源计划</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defRPr/>
                      </a:pPr>
                      <a:r>
                        <a:rPr kumimoji="0" lang="zh-CN" altLang="en-US" sz="1200" b="1" i="0" u="none" strike="noStrike" cap="none" normalizeH="0" baseline="0" smtClean="0">
                          <a:ln>
                            <a:noFill/>
                          </a:ln>
                          <a:solidFill>
                            <a:schemeClr val="tx1"/>
                          </a:solidFill>
                          <a:effectLst/>
                          <a:latin typeface="+mn-ea"/>
                          <a:ea typeface="+mn-ea"/>
                        </a:rPr>
                        <a:t>团队组建</a:t>
                      </a:r>
                      <a:endParaRPr kumimoji="0" lang="en-US" altLang="zh-CN" sz="1200" b="1" i="0" u="none" strike="noStrike" cap="none" normalizeH="0" baseline="0" smtClean="0">
                        <a:ln>
                          <a:noFill/>
                        </a:ln>
                        <a:solidFill>
                          <a:schemeClr val="tx1"/>
                        </a:solidFill>
                        <a:effectLst/>
                        <a:latin typeface="+mn-ea"/>
                        <a:ea typeface="+mn-ea"/>
                      </a:endParaRPr>
                    </a:p>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defRPr/>
                      </a:pPr>
                      <a:r>
                        <a:rPr kumimoji="0" lang="zh-CN" altLang="en-US" sz="1200" b="1" i="0" u="none" strike="noStrike" cap="none" normalizeH="0" baseline="0" smtClean="0">
                          <a:ln>
                            <a:noFill/>
                          </a:ln>
                          <a:solidFill>
                            <a:schemeClr val="tx1"/>
                          </a:solidFill>
                          <a:effectLst/>
                          <a:latin typeface="+mn-ea"/>
                          <a:ea typeface="+mn-ea"/>
                        </a:rPr>
                        <a:t>团队建设</a:t>
                      </a:r>
                      <a:endParaRPr kumimoji="0" lang="en-US" altLang="zh-CN" sz="1200" b="1" i="0" u="none" strike="noStrike" cap="none" normalizeH="0" baseline="0" smtClean="0">
                        <a:ln>
                          <a:noFill/>
                        </a:ln>
                        <a:solidFill>
                          <a:schemeClr val="tx1"/>
                        </a:solidFill>
                        <a:effectLst/>
                        <a:latin typeface="+mn-ea"/>
                        <a:ea typeface="+mn-ea"/>
                      </a:endParaRPr>
                    </a:p>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defRPr/>
                      </a:pPr>
                      <a:r>
                        <a:rPr kumimoji="0" lang="zh-CN" altLang="en-US" sz="1200" b="1" i="0" u="none" strike="noStrike" cap="none" normalizeH="0" baseline="0" smtClean="0">
                          <a:ln>
                            <a:noFill/>
                          </a:ln>
                          <a:solidFill>
                            <a:schemeClr val="tx1"/>
                          </a:solidFill>
                          <a:effectLst/>
                          <a:latin typeface="+mn-ea"/>
                          <a:ea typeface="+mn-ea"/>
                        </a:rPr>
                        <a:t>团队管理</a:t>
                      </a:r>
                      <a:endParaRPr kumimoji="0" lang="zh-CN" altLang="en-US" sz="1200" b="1" i="0" u="none" strike="noStrike" cap="none" normalizeH="0" baseline="0" dirty="0" smtClean="0">
                        <a:ln>
                          <a:noFill/>
                        </a:ln>
                        <a:solidFill>
                          <a:schemeClr val="tx1"/>
                        </a:solidFill>
                        <a:effectLst/>
                        <a:latin typeface="+mn-ea"/>
                        <a:ea typeface="+mn-ea"/>
                      </a:endParaRP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endParaRPr kumimoji="0" lang="zh-CN" altLang="en-US" sz="1200" b="1" i="0" u="none" strike="noStrike" cap="none" normalizeH="0" baseline="0" dirty="0" smtClean="0">
                        <a:ln>
                          <a:noFill/>
                        </a:ln>
                        <a:solidFill>
                          <a:schemeClr val="tx1"/>
                        </a:solidFill>
                        <a:effectLst/>
                        <a:latin typeface="+mn-ea"/>
                        <a:ea typeface="+mn-ea"/>
                      </a:endParaRP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endParaRPr kumimoji="0" lang="zh-CN" altLang="en-US" sz="1200" b="1" i="0" u="none" strike="noStrike" cap="none" normalizeH="0" baseline="0" smtClean="0">
                        <a:ln>
                          <a:noFill/>
                        </a:ln>
                        <a:solidFill>
                          <a:schemeClr val="tx1"/>
                        </a:solidFill>
                        <a:effectLst/>
                        <a:latin typeface="+mn-ea"/>
                        <a:ea typeface="+mn-ea"/>
                      </a:endParaRPr>
                    </a:p>
                  </a:txBody>
                  <a:tcPr marL="84406" marR="84406" marT="45703" marB="4570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69727">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smtClean="0">
                          <a:ln>
                            <a:noFill/>
                          </a:ln>
                          <a:solidFill>
                            <a:schemeClr val="tx1"/>
                          </a:solidFill>
                          <a:effectLst/>
                          <a:latin typeface="+mn-ea"/>
                          <a:ea typeface="+mn-ea"/>
                        </a:rPr>
                        <a:t>项目沟通管理</a:t>
                      </a:r>
                    </a:p>
                  </a:txBody>
                  <a:tcPr marL="84406" marR="84406" marT="45703" marB="4570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endParaRPr kumimoji="0" lang="zh-CN" altLang="en-US" sz="1200" b="1" i="0" u="none" strike="noStrike" cap="none" normalizeH="0" baseline="0" smtClean="0">
                        <a:ln>
                          <a:noFill/>
                        </a:ln>
                        <a:solidFill>
                          <a:schemeClr val="tx1"/>
                        </a:solidFill>
                        <a:effectLst/>
                        <a:latin typeface="+mn-ea"/>
                        <a:ea typeface="+mn-ea"/>
                      </a:endParaRP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沟通规划</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管理沟通</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控制沟通</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endParaRPr kumimoji="0" lang="zh-CN" altLang="en-US" sz="1200" b="1" i="0" u="none" strike="noStrike" cap="none" normalizeH="0" baseline="0" smtClean="0">
                        <a:ln>
                          <a:noFill/>
                        </a:ln>
                        <a:solidFill>
                          <a:schemeClr val="tx1"/>
                        </a:solidFill>
                        <a:effectLst/>
                        <a:latin typeface="+mn-ea"/>
                        <a:ea typeface="+mn-ea"/>
                      </a:endParaRPr>
                    </a:p>
                  </a:txBody>
                  <a:tcPr marL="84406" marR="84406" marT="45703" marB="4570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7763">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smtClean="0">
                          <a:ln>
                            <a:noFill/>
                          </a:ln>
                          <a:solidFill>
                            <a:schemeClr val="tx1"/>
                          </a:solidFill>
                          <a:effectLst/>
                          <a:latin typeface="+mn-ea"/>
                          <a:ea typeface="+mn-ea"/>
                        </a:rPr>
                        <a:t>项目风险管理</a:t>
                      </a:r>
                    </a:p>
                  </a:txBody>
                  <a:tcPr marL="84406" marR="84406" marT="45703" marB="4570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endParaRPr kumimoji="0" lang="zh-CN" altLang="en-US" sz="1200" b="1" i="0" u="none" strike="noStrike" cap="none" normalizeH="0" baseline="0" smtClean="0">
                        <a:ln>
                          <a:noFill/>
                        </a:ln>
                        <a:solidFill>
                          <a:schemeClr val="tx1"/>
                        </a:solidFill>
                        <a:effectLst/>
                        <a:latin typeface="+mn-ea"/>
                        <a:ea typeface="+mn-ea"/>
                      </a:endParaRP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制定风险管理计划、风险识别、风险定性分析、风险定量分析、风险应对计划</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endParaRPr kumimoji="0" lang="zh-CN" altLang="en-US" sz="1200" b="1" i="0" u="none" strike="noStrike" cap="none" normalizeH="0" baseline="0" smtClean="0">
                        <a:ln>
                          <a:noFill/>
                        </a:ln>
                        <a:solidFill>
                          <a:schemeClr val="tx1"/>
                        </a:solidFill>
                        <a:effectLst/>
                        <a:latin typeface="+mn-ea"/>
                        <a:ea typeface="+mn-ea"/>
                      </a:endParaRP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风险监控</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endParaRPr kumimoji="0" lang="zh-CN" altLang="en-US" sz="1200" b="1" i="0" u="none" strike="noStrike" cap="none" normalizeH="0" baseline="0" dirty="0" smtClean="0">
                        <a:ln>
                          <a:noFill/>
                        </a:ln>
                        <a:solidFill>
                          <a:schemeClr val="tx1"/>
                        </a:solidFill>
                        <a:effectLst/>
                        <a:latin typeface="+mn-ea"/>
                        <a:ea typeface="+mn-ea"/>
                      </a:endParaRPr>
                    </a:p>
                  </a:txBody>
                  <a:tcPr marL="84406" marR="84406" marT="45703" marB="4570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69727">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smtClean="0">
                          <a:ln>
                            <a:noFill/>
                          </a:ln>
                          <a:solidFill>
                            <a:schemeClr val="tx1"/>
                          </a:solidFill>
                          <a:effectLst/>
                          <a:latin typeface="+mn-ea"/>
                          <a:ea typeface="+mn-ea"/>
                        </a:rPr>
                        <a:t>项目采购管理</a:t>
                      </a:r>
                    </a:p>
                  </a:txBody>
                  <a:tcPr marL="84406" marR="84406" marT="45703" marB="4570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endParaRPr kumimoji="0" lang="zh-CN" altLang="en-US" sz="1200" b="1" i="0" u="none" strike="noStrike" cap="none" normalizeH="0" baseline="0" smtClean="0">
                        <a:ln>
                          <a:noFill/>
                        </a:ln>
                        <a:solidFill>
                          <a:schemeClr val="tx1"/>
                        </a:solidFill>
                        <a:effectLst/>
                        <a:latin typeface="+mn-ea"/>
                        <a:ea typeface="+mn-ea"/>
                      </a:endParaRP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编制采购管理计划</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实施采购</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控制采购</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结束采购</a:t>
                      </a:r>
                    </a:p>
                  </a:txBody>
                  <a:tcPr marL="84406" marR="84406" marT="45703" marB="4570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61071">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项目干系人管理</a:t>
                      </a:r>
                    </a:p>
                  </a:txBody>
                  <a:tcPr marL="84406" marR="84406" marT="45703" marB="4570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识别干系人</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编制干系人管理计划</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管理干系人参与</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r>
                        <a:rPr kumimoji="0" lang="zh-CN" altLang="en-US" sz="1200" b="1" i="0" u="none" strike="noStrike" cap="none" normalizeH="0" baseline="0" dirty="0" smtClean="0">
                          <a:ln>
                            <a:noFill/>
                          </a:ln>
                          <a:solidFill>
                            <a:schemeClr val="tx1"/>
                          </a:solidFill>
                          <a:effectLst/>
                          <a:latin typeface="+mn-ea"/>
                          <a:ea typeface="+mn-ea"/>
                        </a:rPr>
                        <a:t>控制干系人参与</a:t>
                      </a:r>
                    </a:p>
                  </a:txBody>
                  <a:tcPr marL="84406" marR="84406" marT="45703" marB="4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folHlink"/>
                        </a:buClr>
                        <a:buSzPct val="90000"/>
                        <a:buFont typeface="Wingdings" pitchFamily="2" charset="2"/>
                        <a:buNone/>
                        <a:tabLst/>
                      </a:pPr>
                      <a:endParaRPr kumimoji="0" lang="zh-CN" altLang="en-US" sz="1200" b="1" i="0" u="none" strike="noStrike" cap="none" normalizeH="0" baseline="0" dirty="0" smtClean="0">
                        <a:ln>
                          <a:noFill/>
                        </a:ln>
                        <a:solidFill>
                          <a:schemeClr val="tx1"/>
                        </a:solidFill>
                        <a:effectLst/>
                        <a:latin typeface="+mn-ea"/>
                        <a:ea typeface="+mn-ea"/>
                      </a:endParaRPr>
                    </a:p>
                  </a:txBody>
                  <a:tcPr marL="84406" marR="84406" marT="45703" marB="4570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2"/>
          <p:cNvSpPr>
            <a:spLocks noGrp="1" noChangeArrowheads="1"/>
          </p:cNvSpPr>
          <p:nvPr>
            <p:ph type="title"/>
          </p:nvPr>
        </p:nvSpPr>
        <p:spPr>
          <a:xfrm>
            <a:off x="619125" y="412750"/>
            <a:ext cx="7704138" cy="523875"/>
          </a:xfrm>
        </p:spPr>
        <p:txBody>
          <a:bodyPr/>
          <a:lstStyle/>
          <a:p>
            <a:pPr eaLnBrk="1" hangingPunct="1"/>
            <a:r>
              <a:rPr smtClean="0"/>
              <a:t>项目管理数据和信息</a:t>
            </a:r>
          </a:p>
        </p:txBody>
      </p:sp>
      <p:graphicFrame>
        <p:nvGraphicFramePr>
          <p:cNvPr id="2" name="表格 1"/>
          <p:cNvGraphicFramePr/>
          <p:nvPr/>
        </p:nvGraphicFramePr>
        <p:xfrm>
          <a:off x="592138" y="1082675"/>
          <a:ext cx="8375651" cy="4954587"/>
        </p:xfrm>
        <a:graphic>
          <a:graphicData uri="http://schemas.openxmlformats.org/drawingml/2006/table">
            <a:tbl>
              <a:tblPr firstRow="1" bandRow="1">
                <a:tableStyleId>{5940675A-B579-460E-94D1-54222C63F5DA}</a:tableStyleId>
              </a:tblPr>
              <a:tblGrid>
                <a:gridCol w="912598"/>
                <a:gridCol w="1704111"/>
                <a:gridCol w="2776500"/>
                <a:gridCol w="2982442"/>
              </a:tblGrid>
              <a:tr h="360333">
                <a:tc>
                  <a:txBody>
                    <a:bodyPr/>
                    <a:lstStyle/>
                    <a:p>
                      <a:pPr indent="0">
                        <a:buNone/>
                      </a:pPr>
                      <a:endParaRPr lang="en-US" altLang="en-US" sz="1800" b="0" dirty="0">
                        <a:solidFill>
                          <a:srgbClr val="000000"/>
                        </a:solidFill>
                        <a:latin typeface="+mn-ea"/>
                        <a:cs typeface="Courier New" panose="02070309020205020404" charset="0"/>
                      </a:endParaRPr>
                    </a:p>
                  </a:txBody>
                  <a:tcPr marL="68580" marR="68580" marT="0" marB="0">
                    <a:lnL>
                      <a:noFill/>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BDBE7"/>
                    </a:solidFill>
                  </a:tcPr>
                </a:tc>
                <a:tc>
                  <a:txBody>
                    <a:bodyPr/>
                    <a:lstStyle/>
                    <a:p>
                      <a:pPr indent="0" algn="ctr">
                        <a:buNone/>
                      </a:pPr>
                      <a:r>
                        <a:rPr lang="en-US" sz="1600" b="1" dirty="0" err="1">
                          <a:solidFill>
                            <a:schemeClr val="bg1"/>
                          </a:solidFill>
                          <a:latin typeface="+mn-ea"/>
                          <a:cs typeface="MingLiU" panose="02020509000000000000" charset="-120"/>
                        </a:rPr>
                        <a:t>工作绩效数据</a:t>
                      </a:r>
                      <a:endParaRPr lang="en-US" altLang="en-US" sz="1600" b="1" dirty="0">
                        <a:solidFill>
                          <a:schemeClr val="bg1"/>
                        </a:solidFill>
                        <a:latin typeface="+mn-ea"/>
                        <a:cs typeface="MingLiU" panose="02020509000000000000" charset="-120"/>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chemeClr val="accent2">
                        <a:lumMod val="75000"/>
                      </a:schemeClr>
                    </a:solidFill>
                  </a:tcPr>
                </a:tc>
                <a:tc>
                  <a:txBody>
                    <a:bodyPr/>
                    <a:lstStyle/>
                    <a:p>
                      <a:pPr indent="0" algn="ctr">
                        <a:buNone/>
                      </a:pPr>
                      <a:r>
                        <a:rPr lang="en-US" sz="1600" b="1">
                          <a:solidFill>
                            <a:schemeClr val="bg1"/>
                          </a:solidFill>
                          <a:latin typeface="+mn-ea"/>
                          <a:cs typeface="MingLiU" panose="02020509000000000000" charset="-120"/>
                        </a:rPr>
                        <a:t>工作绩效信息</a:t>
                      </a:r>
                      <a:endParaRPr lang="en-US" altLang="en-US" sz="1600" b="1">
                        <a:solidFill>
                          <a:schemeClr val="bg1"/>
                        </a:solidFill>
                        <a:latin typeface="+mn-ea"/>
                        <a:cs typeface="MingLiU" panose="02020509000000000000" charset="-120"/>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00B0F0"/>
                    </a:solidFill>
                  </a:tcPr>
                </a:tc>
                <a:tc>
                  <a:txBody>
                    <a:bodyPr/>
                    <a:lstStyle/>
                    <a:p>
                      <a:pPr indent="0" algn="ctr">
                        <a:buNone/>
                      </a:pPr>
                      <a:r>
                        <a:rPr lang="en-US" sz="1600" b="1" dirty="0" err="1">
                          <a:solidFill>
                            <a:schemeClr val="bg1"/>
                          </a:solidFill>
                          <a:latin typeface="+mn-ea"/>
                          <a:cs typeface="MingLiU" panose="02020509000000000000" charset="-120"/>
                        </a:rPr>
                        <a:t>工作绩效报告</a:t>
                      </a:r>
                      <a:endParaRPr lang="en-US" altLang="en-US" sz="1600" b="1" dirty="0">
                        <a:solidFill>
                          <a:schemeClr val="bg1"/>
                        </a:solidFill>
                        <a:latin typeface="+mn-ea"/>
                        <a:cs typeface="MingLiU" panose="02020509000000000000" charset="-120"/>
                      </a:endParaRPr>
                    </a:p>
                  </a:txBody>
                  <a:tcPr marL="68580" marR="68580" marT="0" marB="0" anchor="ctr">
                    <a:lnL w="12700" cap="flat" cmpd="sng">
                      <a:solidFill>
                        <a:srgbClr val="080000"/>
                      </a:solidFill>
                      <a:prstDash val="solid"/>
                      <a:headEnd type="none" w="med" len="med"/>
                      <a:tailEnd type="none" w="med" len="med"/>
                    </a:lnL>
                    <a:lnR cap="flat">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7030A0"/>
                    </a:solidFill>
                  </a:tcPr>
                </a:tc>
              </a:tr>
              <a:tr h="1081002">
                <a:tc>
                  <a:txBody>
                    <a:bodyPr/>
                    <a:lstStyle/>
                    <a:p>
                      <a:pPr indent="0" algn="ctr">
                        <a:buNone/>
                      </a:pPr>
                      <a:r>
                        <a:rPr lang="en-US" sz="1400" b="1">
                          <a:solidFill>
                            <a:schemeClr val="bg1"/>
                          </a:solidFill>
                          <a:latin typeface="+mn-ea"/>
                          <a:cs typeface="MingLiU" panose="02020509000000000000" charset="-120"/>
                        </a:rPr>
                        <a:t>产生于</a:t>
                      </a:r>
                      <a:endParaRPr lang="en-US" altLang="en-US" sz="1400" b="1">
                        <a:solidFill>
                          <a:schemeClr val="bg1"/>
                        </a:solidFill>
                        <a:latin typeface="+mn-ea"/>
                        <a:cs typeface="MingLiU" panose="02020509000000000000" charset="-120"/>
                      </a:endParaRPr>
                    </a:p>
                  </a:txBody>
                  <a:tcPr marL="68580" marR="68580" marT="0" marB="0" anchor="ctr">
                    <a:lnL>
                      <a:noFill/>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00B050"/>
                    </a:solidFill>
                  </a:tcPr>
                </a:tc>
                <a:tc>
                  <a:txBody>
                    <a:bodyPr/>
                    <a:lstStyle/>
                    <a:p>
                      <a:pPr indent="0">
                        <a:buNone/>
                      </a:pPr>
                      <a:r>
                        <a:rPr lang="en-US" sz="1400" b="0" dirty="0" err="1">
                          <a:solidFill>
                            <a:srgbClr val="656161"/>
                          </a:solidFill>
                          <a:latin typeface="+mn-ea"/>
                          <a:cs typeface="+mn-ea"/>
                        </a:rPr>
                        <a:t>指导与管理项目工作过程</a:t>
                      </a:r>
                      <a:endParaRPr lang="en-US" altLang="en-US" sz="1400" b="0" dirty="0">
                        <a:solidFill>
                          <a:srgbClr val="656161"/>
                        </a:solidFill>
                        <a:latin typeface="+mn-ea"/>
                        <a:cs typeface="+mn-ea"/>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buNone/>
                      </a:pPr>
                      <a:r>
                        <a:rPr lang="en-US" sz="1400" b="0" dirty="0" err="1">
                          <a:solidFill>
                            <a:srgbClr val="656161"/>
                          </a:solidFill>
                          <a:latin typeface="+mn-ea"/>
                          <a:cs typeface="+mn-ea"/>
                        </a:rPr>
                        <a:t>确认范围、控制范围、控制进度、控制成本、控制质量、监督沟通、控制资源、监督风险、控制采购</a:t>
                      </a:r>
                      <a:r>
                        <a:rPr lang="en-US" sz="1400" b="0" err="1">
                          <a:solidFill>
                            <a:srgbClr val="656161"/>
                          </a:solidFill>
                          <a:latin typeface="+mn-ea"/>
                          <a:cs typeface="+mn-ea"/>
                        </a:rPr>
                        <a:t>、</a:t>
                      </a:r>
                      <a:r>
                        <a:rPr lang="en-US" sz="1400" b="0" smtClean="0">
                          <a:solidFill>
                            <a:srgbClr val="656161"/>
                          </a:solidFill>
                          <a:latin typeface="+mn-ea"/>
                          <a:cs typeface="+mn-ea"/>
                        </a:rPr>
                        <a:t>监督</a:t>
                      </a:r>
                      <a:r>
                        <a:rPr lang="zh-CN" altLang="en-US" sz="1400" b="0" smtClean="0">
                          <a:solidFill>
                            <a:srgbClr val="656161"/>
                          </a:solidFill>
                          <a:latin typeface="+mn-ea"/>
                          <a:cs typeface="+mn-ea"/>
                        </a:rPr>
                        <a:t>干系人</a:t>
                      </a:r>
                      <a:r>
                        <a:rPr lang="en-US" sz="1400" b="0" smtClean="0">
                          <a:solidFill>
                            <a:srgbClr val="656161"/>
                          </a:solidFill>
                          <a:latin typeface="+mn-ea"/>
                          <a:cs typeface="+mn-ea"/>
                        </a:rPr>
                        <a:t>参与过程</a:t>
                      </a:r>
                      <a:endParaRPr lang="en-US" altLang="en-US" sz="1400" b="0" dirty="0">
                        <a:solidFill>
                          <a:srgbClr val="656161"/>
                        </a:solidFill>
                        <a:latin typeface="+mn-ea"/>
                        <a:cs typeface="+mn-ea"/>
                      </a:endParaRPr>
                    </a:p>
                  </a:txBody>
                  <a:tcPr marL="68580" marR="68580" marT="0" marB="0" anchor="b">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buNone/>
                      </a:pPr>
                      <a:r>
                        <a:rPr lang="en-US" sz="1400" b="0">
                          <a:solidFill>
                            <a:srgbClr val="656161"/>
                          </a:solidFill>
                          <a:latin typeface="+mn-ea"/>
                          <a:cs typeface="MingLiU" panose="02020509000000000000" charset="-120"/>
                        </a:rPr>
                        <a:t>监控项目工作过程</a:t>
                      </a:r>
                      <a:endParaRPr lang="en-US" altLang="en-US" sz="1400" b="0">
                        <a:solidFill>
                          <a:srgbClr val="656161"/>
                        </a:solidFill>
                        <a:latin typeface="+mn-ea"/>
                        <a:cs typeface="MingLiU" panose="02020509000000000000" charset="-120"/>
                      </a:endParaRPr>
                    </a:p>
                  </a:txBody>
                  <a:tcPr marL="68580" marR="68580" marT="0" marB="0" anchor="ctr">
                    <a:lnL w="12700" cap="flat" cmpd="sng">
                      <a:solidFill>
                        <a:srgbClr val="080000"/>
                      </a:solidFill>
                      <a:prstDash val="solid"/>
                      <a:headEnd type="none" w="med" len="med"/>
                      <a:tailEnd type="none" w="med" len="med"/>
                    </a:lnL>
                    <a:lnR cap="flat">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r>
              <a:tr h="540500">
                <a:tc>
                  <a:txBody>
                    <a:bodyPr/>
                    <a:lstStyle/>
                    <a:p>
                      <a:pPr indent="0" algn="ctr">
                        <a:buNone/>
                      </a:pPr>
                      <a:r>
                        <a:rPr lang="en-US" sz="1400" b="1">
                          <a:solidFill>
                            <a:schemeClr val="bg1"/>
                          </a:solidFill>
                          <a:latin typeface="+mn-ea"/>
                          <a:cs typeface="MingLiU" panose="02020509000000000000" charset="-120"/>
                        </a:rPr>
                        <a:t>产生时间</a:t>
                      </a:r>
                      <a:endParaRPr lang="en-US" altLang="en-US" sz="1400" b="1">
                        <a:solidFill>
                          <a:schemeClr val="bg1"/>
                        </a:solidFill>
                        <a:latin typeface="+mn-ea"/>
                        <a:cs typeface="MingLiU" panose="02020509000000000000" charset="-120"/>
                      </a:endParaRPr>
                    </a:p>
                  </a:txBody>
                  <a:tcPr marL="68580" marR="68580" marT="0" marB="0" anchor="ctr">
                    <a:lnL>
                      <a:noFill/>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00B050"/>
                    </a:solidFill>
                  </a:tcPr>
                </a:tc>
                <a:tc>
                  <a:txBody>
                    <a:bodyPr/>
                    <a:lstStyle/>
                    <a:p>
                      <a:pPr indent="0">
                        <a:buNone/>
                      </a:pPr>
                      <a:r>
                        <a:rPr lang="en-US" sz="1400" b="1">
                          <a:solidFill>
                            <a:srgbClr val="656161"/>
                          </a:solidFill>
                          <a:latin typeface="+mn-ea"/>
                          <a:cs typeface="MingLiU" panose="02020509000000000000" charset="-120"/>
                        </a:rPr>
                        <a:t>随时</a:t>
                      </a:r>
                      <a:endParaRPr lang="en-US" altLang="en-US" sz="1400" b="1">
                        <a:solidFill>
                          <a:srgbClr val="656161"/>
                        </a:solidFill>
                        <a:latin typeface="+mn-ea"/>
                        <a:cs typeface="MingLiU" panose="02020509000000000000" charset="-120"/>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buNone/>
                      </a:pPr>
                      <a:r>
                        <a:rPr lang="en-US" sz="1400" b="1" dirty="0" err="1">
                          <a:solidFill>
                            <a:srgbClr val="656161"/>
                          </a:solidFill>
                          <a:latin typeface="+mn-ea"/>
                          <a:cs typeface="MingLiU" panose="02020509000000000000" charset="-120"/>
                        </a:rPr>
                        <a:t>间隔一定时间，经常</a:t>
                      </a:r>
                      <a:endParaRPr lang="en-US" altLang="en-US" sz="1400" b="1" dirty="0" err="1">
                        <a:solidFill>
                          <a:srgbClr val="656161"/>
                        </a:solidFill>
                        <a:latin typeface="+mn-ea"/>
                        <a:cs typeface="MingLiU" panose="02020509000000000000" charset="-120"/>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buNone/>
                      </a:pPr>
                      <a:r>
                        <a:rPr lang="en-US" sz="1400" b="1">
                          <a:solidFill>
                            <a:srgbClr val="656161"/>
                          </a:solidFill>
                          <a:latin typeface="+mn-ea"/>
                          <a:cs typeface="MingLiU" panose="02020509000000000000" charset="-120"/>
                        </a:rPr>
                        <a:t>间隔较长时间，定期或在特殊需要时</a:t>
                      </a:r>
                      <a:endParaRPr lang="en-US" altLang="en-US" sz="1400" b="1">
                        <a:solidFill>
                          <a:srgbClr val="656161"/>
                        </a:solidFill>
                        <a:latin typeface="+mn-ea"/>
                        <a:cs typeface="MingLiU" panose="02020509000000000000" charset="-120"/>
                      </a:endParaRPr>
                    </a:p>
                  </a:txBody>
                  <a:tcPr marL="68580" marR="68580" marT="0" marB="0" anchor="ctr">
                    <a:lnL w="12700" cap="flat" cmpd="sng">
                      <a:solidFill>
                        <a:srgbClr val="080000"/>
                      </a:solidFill>
                      <a:prstDash val="solid"/>
                      <a:headEnd type="none" w="med" len="med"/>
                      <a:tailEnd type="none" w="med" len="med"/>
                    </a:lnL>
                    <a:lnR cap="flat">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r>
              <a:tr h="810750">
                <a:tc>
                  <a:txBody>
                    <a:bodyPr/>
                    <a:lstStyle/>
                    <a:p>
                      <a:pPr indent="0" algn="ctr">
                        <a:buNone/>
                      </a:pPr>
                      <a:r>
                        <a:rPr lang="en-US" sz="1400" b="1">
                          <a:solidFill>
                            <a:schemeClr val="bg1"/>
                          </a:solidFill>
                          <a:latin typeface="+mn-ea"/>
                          <a:cs typeface="MingLiU" panose="02020509000000000000" charset="-120"/>
                        </a:rPr>
                        <a:t>主要用途</a:t>
                      </a:r>
                      <a:endParaRPr lang="en-US" altLang="en-US" sz="1400" b="1">
                        <a:solidFill>
                          <a:schemeClr val="bg1"/>
                        </a:solidFill>
                        <a:latin typeface="+mn-ea"/>
                        <a:cs typeface="MingLiU" panose="02020509000000000000" charset="-120"/>
                      </a:endParaRPr>
                    </a:p>
                  </a:txBody>
                  <a:tcPr marL="68580" marR="68580" marT="0" marB="0" anchor="ctr">
                    <a:lnL>
                      <a:noFill/>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00B050"/>
                    </a:solidFill>
                  </a:tcPr>
                </a:tc>
                <a:tc>
                  <a:txBody>
                    <a:bodyPr/>
                    <a:lstStyle/>
                    <a:p>
                      <a:pPr indent="0">
                        <a:buNone/>
                      </a:pPr>
                      <a:r>
                        <a:rPr lang="en-US" sz="1400" b="0">
                          <a:solidFill>
                            <a:srgbClr val="656161"/>
                          </a:solidFill>
                          <a:latin typeface="+mn-ea"/>
                          <a:cs typeface="MingLiU" panose="02020509000000000000" charset="-120"/>
                        </a:rPr>
                        <a:t>记录项目执行情况</a:t>
                      </a:r>
                      <a:endParaRPr lang="en-US" altLang="en-US" sz="1400" b="0">
                        <a:solidFill>
                          <a:srgbClr val="656161"/>
                        </a:solidFill>
                        <a:latin typeface="+mn-ea"/>
                        <a:cs typeface="MingLiU" panose="02020509000000000000" charset="-120"/>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buNone/>
                      </a:pPr>
                      <a:r>
                        <a:rPr lang="en-US" sz="1400" b="0" dirty="0" err="1">
                          <a:solidFill>
                            <a:srgbClr val="656161"/>
                          </a:solidFill>
                          <a:latin typeface="+mn-ea"/>
                          <a:cs typeface="+mn-ea"/>
                        </a:rPr>
                        <a:t>反映项目执行与计划之间的偏</a:t>
                      </a:r>
                      <a:r>
                        <a:rPr lang="en-US" sz="1400" b="0" dirty="0">
                          <a:solidFill>
                            <a:srgbClr val="656161"/>
                          </a:solidFill>
                          <a:latin typeface="+mn-ea"/>
                          <a:cs typeface="+mn-ea"/>
                        </a:rPr>
                        <a:t> </a:t>
                      </a:r>
                      <a:r>
                        <a:rPr lang="en-US" sz="1400" b="0" dirty="0" err="1">
                          <a:solidFill>
                            <a:srgbClr val="656161"/>
                          </a:solidFill>
                          <a:latin typeface="+mn-ea"/>
                          <a:cs typeface="+mn-ea"/>
                        </a:rPr>
                        <a:t>差，以便决定是否需要变更</a:t>
                      </a:r>
                      <a:endParaRPr lang="en-US" altLang="en-US" sz="1400" b="0" dirty="0">
                        <a:solidFill>
                          <a:srgbClr val="656161"/>
                        </a:solidFill>
                        <a:latin typeface="+mn-ea"/>
                        <a:cs typeface="+mn-ea"/>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buNone/>
                      </a:pPr>
                      <a:r>
                        <a:rPr lang="en-US" sz="1400" b="0" dirty="0" err="1">
                          <a:solidFill>
                            <a:srgbClr val="656161"/>
                          </a:solidFill>
                          <a:latin typeface="+mn-ea"/>
                          <a:cs typeface="+mn-ea"/>
                        </a:rPr>
                        <a:t>整个项目层面的，更深人或更综合的执行与计划的比较，以便决定是否需变更或采取其他行动</a:t>
                      </a:r>
                      <a:endParaRPr lang="en-US" altLang="en-US" sz="1400" b="0" dirty="0">
                        <a:solidFill>
                          <a:srgbClr val="656161"/>
                        </a:solidFill>
                        <a:latin typeface="+mn-ea"/>
                        <a:cs typeface="+mn-ea"/>
                      </a:endParaRPr>
                    </a:p>
                  </a:txBody>
                  <a:tcPr marL="68580" marR="68580" marT="0" marB="0" anchor="ctr">
                    <a:lnL w="12700" cap="flat" cmpd="sng">
                      <a:solidFill>
                        <a:srgbClr val="080000"/>
                      </a:solidFill>
                      <a:prstDash val="solid"/>
                      <a:headEnd type="none" w="med" len="med"/>
                      <a:tailEnd type="none" w="med" len="med"/>
                    </a:lnL>
                    <a:lnR cap="flat">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r>
              <a:tr h="540500">
                <a:tc>
                  <a:txBody>
                    <a:bodyPr/>
                    <a:lstStyle/>
                    <a:p>
                      <a:pPr indent="0" algn="ctr">
                        <a:buNone/>
                      </a:pPr>
                      <a:r>
                        <a:rPr lang="en-US" sz="1400" b="1">
                          <a:solidFill>
                            <a:schemeClr val="bg1"/>
                          </a:solidFill>
                          <a:latin typeface="+mn-ea"/>
                          <a:cs typeface="+mn-ea"/>
                        </a:rPr>
                        <a:t>回答的主 要问题</a:t>
                      </a:r>
                      <a:endParaRPr lang="en-US" altLang="en-US" sz="1400" b="1">
                        <a:solidFill>
                          <a:schemeClr val="bg1"/>
                        </a:solidFill>
                        <a:latin typeface="+mn-ea"/>
                        <a:cs typeface="+mn-ea"/>
                      </a:endParaRPr>
                    </a:p>
                  </a:txBody>
                  <a:tcPr marL="68580" marR="68580" marT="0" marB="0" anchor="b">
                    <a:lnL>
                      <a:noFill/>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00B050"/>
                    </a:solidFill>
                  </a:tcPr>
                </a:tc>
                <a:tc>
                  <a:txBody>
                    <a:bodyPr/>
                    <a:lstStyle/>
                    <a:p>
                      <a:pPr indent="0">
                        <a:buNone/>
                      </a:pPr>
                      <a:r>
                        <a:rPr lang="en-US" sz="1400" b="1">
                          <a:solidFill>
                            <a:srgbClr val="C00000"/>
                          </a:solidFill>
                          <a:latin typeface="+mn-ea"/>
                          <a:cs typeface="+mn-ea"/>
                        </a:rPr>
                        <a:t>是什么（What)</a:t>
                      </a:r>
                      <a:endParaRPr lang="en-US" altLang="en-US" sz="1400" b="1">
                        <a:solidFill>
                          <a:srgbClr val="C00000"/>
                        </a:solidFill>
                        <a:latin typeface="+mn-ea"/>
                        <a:cs typeface="+mn-ea"/>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buNone/>
                      </a:pPr>
                      <a:r>
                        <a:rPr lang="en-US" sz="1400" b="1">
                          <a:solidFill>
                            <a:srgbClr val="C00000"/>
                          </a:solidFill>
                          <a:latin typeface="+mn-ea"/>
                          <a:cs typeface="+mn-ea"/>
                        </a:rPr>
                        <a:t>为什么会如此（Why)</a:t>
                      </a:r>
                      <a:endParaRPr lang="en-US" altLang="en-US" sz="1400" b="1">
                        <a:solidFill>
                          <a:srgbClr val="C00000"/>
                        </a:solidFill>
                        <a:latin typeface="+mn-ea"/>
                        <a:cs typeface="+mn-ea"/>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buNone/>
                      </a:pPr>
                      <a:r>
                        <a:rPr lang="en-US" sz="1400" b="1" dirty="0" err="1">
                          <a:solidFill>
                            <a:srgbClr val="C00000"/>
                          </a:solidFill>
                          <a:latin typeface="+mn-ea"/>
                          <a:cs typeface="+mn-ea"/>
                        </a:rPr>
                        <a:t>准备怎么解决和预防问题（How</a:t>
                      </a:r>
                      <a:r>
                        <a:rPr lang="en-US" sz="1400" b="1" dirty="0">
                          <a:solidFill>
                            <a:srgbClr val="C00000"/>
                          </a:solidFill>
                          <a:latin typeface="+mn-ea"/>
                          <a:cs typeface="+mn-ea"/>
                        </a:rPr>
                        <a:t> and how will)</a:t>
                      </a:r>
                      <a:endParaRPr lang="en-US" altLang="en-US" sz="1400" b="1" dirty="0">
                        <a:solidFill>
                          <a:srgbClr val="C00000"/>
                        </a:solidFill>
                        <a:latin typeface="+mn-ea"/>
                        <a:cs typeface="+mn-ea"/>
                      </a:endParaRPr>
                    </a:p>
                  </a:txBody>
                  <a:tcPr marL="68580" marR="68580" marT="0" marB="0" anchor="ctr">
                    <a:lnL w="12700" cap="flat" cmpd="sng">
                      <a:solidFill>
                        <a:srgbClr val="080000"/>
                      </a:solidFill>
                      <a:prstDash val="solid"/>
                      <a:headEnd type="none" w="med" len="med"/>
                      <a:tailEnd type="none" w="med" len="med"/>
                    </a:lnL>
                    <a:lnR cap="flat">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r>
              <a:tr h="540500">
                <a:tc>
                  <a:txBody>
                    <a:bodyPr/>
                    <a:lstStyle/>
                    <a:p>
                      <a:pPr indent="0" algn="ctr">
                        <a:buNone/>
                      </a:pPr>
                      <a:r>
                        <a:rPr lang="en-US" sz="1400" b="1">
                          <a:solidFill>
                            <a:schemeClr val="bg1"/>
                          </a:solidFill>
                          <a:latin typeface="+mn-ea"/>
                          <a:cs typeface="MingLiU" panose="02020509000000000000" charset="-120"/>
                        </a:rPr>
                        <a:t>使用者</a:t>
                      </a:r>
                      <a:endParaRPr lang="en-US" altLang="en-US" sz="1400" b="1">
                        <a:solidFill>
                          <a:schemeClr val="bg1"/>
                        </a:solidFill>
                        <a:latin typeface="+mn-ea"/>
                        <a:cs typeface="MingLiU" panose="02020509000000000000" charset="-120"/>
                      </a:endParaRPr>
                    </a:p>
                  </a:txBody>
                  <a:tcPr marL="68580" marR="68580" marT="0" marB="0" anchor="ctr">
                    <a:lnL>
                      <a:noFill/>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00B050"/>
                    </a:solidFill>
                  </a:tcPr>
                </a:tc>
                <a:tc>
                  <a:txBody>
                    <a:bodyPr/>
                    <a:lstStyle/>
                    <a:p>
                      <a:pPr indent="0">
                        <a:buNone/>
                      </a:pPr>
                      <a:r>
                        <a:rPr lang="en-US" sz="1400" b="0">
                          <a:solidFill>
                            <a:srgbClr val="656161"/>
                          </a:solidFill>
                          <a:latin typeface="+mn-ea"/>
                          <a:cs typeface="MingLiU" panose="02020509000000000000" charset="-120"/>
                        </a:rPr>
                        <a:t>项目团队</a:t>
                      </a:r>
                      <a:endParaRPr lang="en-US" altLang="en-US" sz="1400" b="0">
                        <a:solidFill>
                          <a:srgbClr val="656161"/>
                        </a:solidFill>
                        <a:latin typeface="+mn-ea"/>
                        <a:cs typeface="MingLiU" panose="02020509000000000000" charset="-120"/>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buNone/>
                      </a:pPr>
                      <a:r>
                        <a:rPr lang="en-US" sz="1400" b="0">
                          <a:solidFill>
                            <a:srgbClr val="656161"/>
                          </a:solidFill>
                          <a:latin typeface="+mn-ea"/>
                          <a:cs typeface="MingLiU" panose="02020509000000000000" charset="-120"/>
                        </a:rPr>
                        <a:t>项目团队</a:t>
                      </a:r>
                      <a:endParaRPr lang="en-US" altLang="en-US" sz="1400" b="0">
                        <a:solidFill>
                          <a:srgbClr val="656161"/>
                        </a:solidFill>
                        <a:latin typeface="+mn-ea"/>
                        <a:cs typeface="MingLiU" panose="02020509000000000000" charset="-120"/>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buNone/>
                      </a:pPr>
                      <a:r>
                        <a:rPr lang="en-US" sz="1400" b="0" dirty="0" err="1">
                          <a:solidFill>
                            <a:srgbClr val="656161"/>
                          </a:solidFill>
                          <a:latin typeface="+mn-ea"/>
                          <a:cs typeface="+mn-ea"/>
                        </a:rPr>
                        <a:t>项目团队、发起人、高级管理层</a:t>
                      </a:r>
                      <a:r>
                        <a:rPr lang="en-US" sz="1400" b="0">
                          <a:solidFill>
                            <a:srgbClr val="656161"/>
                          </a:solidFill>
                          <a:latin typeface="+mn-ea"/>
                          <a:cs typeface="+mn-ea"/>
                        </a:rPr>
                        <a:t>、 </a:t>
                      </a:r>
                      <a:r>
                        <a:rPr lang="en-US" sz="1400" b="0" smtClean="0">
                          <a:solidFill>
                            <a:srgbClr val="656161"/>
                          </a:solidFill>
                          <a:latin typeface="+mn-ea"/>
                          <a:cs typeface="+mn-ea"/>
                        </a:rPr>
                        <a:t>客户及其他主要</a:t>
                      </a:r>
                      <a:r>
                        <a:rPr lang="zh-CN" altLang="en-US" sz="1400" b="0" smtClean="0">
                          <a:solidFill>
                            <a:srgbClr val="656161"/>
                          </a:solidFill>
                          <a:latin typeface="+mn-ea"/>
                          <a:cs typeface="+mn-ea"/>
                        </a:rPr>
                        <a:t>干系人</a:t>
                      </a:r>
                      <a:endParaRPr lang="en-US" altLang="en-US" sz="1400" b="0" dirty="0">
                        <a:solidFill>
                          <a:srgbClr val="656161"/>
                        </a:solidFill>
                        <a:latin typeface="+mn-ea"/>
                        <a:cs typeface="+mn-ea"/>
                      </a:endParaRPr>
                    </a:p>
                  </a:txBody>
                  <a:tcPr marL="68580" marR="68580" marT="0" marB="0" anchor="ctr">
                    <a:lnL w="12700" cap="flat" cmpd="sng">
                      <a:solidFill>
                        <a:srgbClr val="080000"/>
                      </a:solidFill>
                      <a:prstDash val="solid"/>
                      <a:headEnd type="none" w="med" len="med"/>
                      <a:tailEnd type="none" w="med" len="med"/>
                    </a:lnL>
                    <a:lnR cap="flat">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r>
              <a:tr h="1081002">
                <a:tc>
                  <a:txBody>
                    <a:bodyPr/>
                    <a:lstStyle/>
                    <a:p>
                      <a:pPr indent="0" algn="ctr">
                        <a:buNone/>
                      </a:pPr>
                      <a:r>
                        <a:rPr lang="en-US" sz="1400" b="1">
                          <a:solidFill>
                            <a:schemeClr val="bg1"/>
                          </a:solidFill>
                          <a:latin typeface="+mn-ea"/>
                          <a:cs typeface="MingLiU" panose="02020509000000000000" charset="-120"/>
                        </a:rPr>
                        <a:t>实例</a:t>
                      </a:r>
                      <a:endParaRPr lang="en-US" altLang="en-US" sz="1400" b="1">
                        <a:solidFill>
                          <a:schemeClr val="bg1"/>
                        </a:solidFill>
                        <a:latin typeface="+mn-ea"/>
                        <a:cs typeface="MingLiU" panose="02020509000000000000" charset="-120"/>
                      </a:endParaRPr>
                    </a:p>
                  </a:txBody>
                  <a:tcPr marL="68580" marR="68580" marT="0" marB="0" anchor="ctr">
                    <a:lnL>
                      <a:noFill/>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00B050"/>
                    </a:solidFill>
                  </a:tcPr>
                </a:tc>
                <a:tc>
                  <a:txBody>
                    <a:bodyPr/>
                    <a:lstStyle/>
                    <a:p>
                      <a:pPr indent="0">
                        <a:buNone/>
                      </a:pPr>
                      <a:r>
                        <a:rPr lang="en-US" sz="1400" b="0">
                          <a:solidFill>
                            <a:srgbClr val="656161"/>
                          </a:solidFill>
                          <a:latin typeface="+mn-ea"/>
                          <a:cs typeface="+mn-ea"/>
                        </a:rPr>
                        <a:t>截至本月底完成 了价值1 000万元 的工作</a:t>
                      </a:r>
                      <a:endParaRPr lang="en-US" altLang="en-US" sz="1400" b="0">
                        <a:solidFill>
                          <a:srgbClr val="656161"/>
                        </a:solidFill>
                        <a:latin typeface="+mn-ea"/>
                        <a:cs typeface="+mn-ea"/>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buNone/>
                      </a:pPr>
                      <a:r>
                        <a:rPr lang="en-US" sz="1400" b="0">
                          <a:solidFill>
                            <a:srgbClr val="656161"/>
                          </a:solidFill>
                          <a:latin typeface="+mn-ea"/>
                          <a:cs typeface="+mn-ea"/>
                        </a:rPr>
                        <a:t>截至本月底，与计划相比，进度落后了100万元，超出了控制临界值，主要原因是人员的技能水平低下</a:t>
                      </a:r>
                      <a:endParaRPr lang="en-US" altLang="en-US" sz="1400" b="0">
                        <a:solidFill>
                          <a:srgbClr val="656161"/>
                        </a:solidFill>
                        <a:latin typeface="+mn-ea"/>
                        <a:cs typeface="+mn-ea"/>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c>
                  <a:txBody>
                    <a:bodyPr/>
                    <a:lstStyle/>
                    <a:p>
                      <a:pPr indent="0" algn="l">
                        <a:buNone/>
                      </a:pPr>
                      <a:r>
                        <a:rPr lang="en-US" sz="1400" b="0" dirty="0">
                          <a:solidFill>
                            <a:srgbClr val="656161"/>
                          </a:solidFill>
                          <a:latin typeface="+mn-ea"/>
                          <a:cs typeface="+mn-ea"/>
                        </a:rPr>
                        <a:t>截至本月底，进度偏差为-100万 </a:t>
                      </a:r>
                      <a:r>
                        <a:rPr lang="en-US" sz="1400" b="0" dirty="0" err="1">
                          <a:solidFill>
                            <a:srgbClr val="656161"/>
                          </a:solidFill>
                          <a:latin typeface="+mn-ea"/>
                          <a:cs typeface="+mn-ea"/>
                        </a:rPr>
                        <a:t>元，超出控制临界值。应加强人员培训，提高技能水平，来赶上进度，并预防再次进度落后</a:t>
                      </a:r>
                      <a:endParaRPr lang="en-US" altLang="en-US" sz="1400" b="0" dirty="0">
                        <a:solidFill>
                          <a:srgbClr val="656161"/>
                        </a:solidFill>
                        <a:latin typeface="+mn-ea"/>
                        <a:cs typeface="+mn-ea"/>
                      </a:endParaRPr>
                    </a:p>
                  </a:txBody>
                  <a:tcPr marL="68580" marR="68580" marT="0" marB="0" anchor="ctr">
                    <a:lnL w="12700" cap="flat" cmpd="sng">
                      <a:solidFill>
                        <a:srgbClr val="080000"/>
                      </a:solidFill>
                      <a:prstDash val="solid"/>
                      <a:headEnd type="none" w="med" len="med"/>
                      <a:tailEnd type="none" w="med" len="med"/>
                    </a:lnL>
                    <a:lnR cap="flat">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FFFFFF"/>
                    </a:solidFill>
                  </a:tcPr>
                </a:tc>
              </a:tr>
            </a:tbl>
          </a:graphicData>
        </a:graphic>
      </p:graphicFrame>
      <p:sp>
        <p:nvSpPr>
          <p:cNvPr id="4" name="五角星 3"/>
          <p:cNvSpPr/>
          <p:nvPr/>
        </p:nvSpPr>
        <p:spPr>
          <a:xfrm>
            <a:off x="4668838" y="56356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7" name="五角星 6"/>
          <p:cNvSpPr/>
          <p:nvPr/>
        </p:nvSpPr>
        <p:spPr>
          <a:xfrm>
            <a:off x="4918075" y="56356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0" name="五角星 9"/>
          <p:cNvSpPr/>
          <p:nvPr/>
        </p:nvSpPr>
        <p:spPr>
          <a:xfrm>
            <a:off x="5145088" y="560388"/>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1" name="五角星 10"/>
          <p:cNvSpPr/>
          <p:nvPr/>
        </p:nvSpPr>
        <p:spPr>
          <a:xfrm>
            <a:off x="5384800" y="56356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2" name="五角星 11"/>
          <p:cNvSpPr/>
          <p:nvPr/>
        </p:nvSpPr>
        <p:spPr>
          <a:xfrm>
            <a:off x="5630863" y="563563"/>
            <a:ext cx="212725" cy="22066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3" name="五角星 12"/>
          <p:cNvSpPr/>
          <p:nvPr/>
        </p:nvSpPr>
        <p:spPr>
          <a:xfrm>
            <a:off x="4162425" y="568325"/>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
        <p:nvSpPr>
          <p:cNvPr id="14" name="五角星 13"/>
          <p:cNvSpPr/>
          <p:nvPr/>
        </p:nvSpPr>
        <p:spPr>
          <a:xfrm>
            <a:off x="4408488" y="568325"/>
            <a:ext cx="212725" cy="22066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noProof="1"/>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extBox 4"/>
          <p:cNvSpPr txBox="1">
            <a:spLocks noChangeArrowheads="1"/>
          </p:cNvSpPr>
          <p:nvPr/>
        </p:nvSpPr>
        <p:spPr bwMode="auto">
          <a:xfrm>
            <a:off x="731508" y="1441285"/>
            <a:ext cx="7519987" cy="3487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901" tIns="50950" rIns="101901" bIns="50950">
            <a:spAutoFit/>
          </a:bodyPr>
          <a:lstStyle>
            <a:lvl1pPr eaLnBrk="0" hangingPunct="0">
              <a:lnSpc>
                <a:spcPct val="90000"/>
              </a:lnSpc>
              <a:spcBef>
                <a:spcPts val="1000"/>
              </a:spcBef>
              <a:buFont typeface="Arial" pitchFamily="34" charset="0"/>
              <a:buChar char="•"/>
              <a:defRPr sz="2800">
                <a:solidFill>
                  <a:schemeClr val="tx1"/>
                </a:solidFill>
                <a:latin typeface="Tw Cen MT"/>
                <a:ea typeface="微软雅黑" pitchFamily="34" charset="-122"/>
              </a:defRPr>
            </a:lvl1pPr>
            <a:lvl2pPr marL="742950" indent="-285750" eaLnBrk="0" hangingPunct="0">
              <a:lnSpc>
                <a:spcPct val="90000"/>
              </a:lnSpc>
              <a:spcBef>
                <a:spcPts val="500"/>
              </a:spcBef>
              <a:buFont typeface="Arial" pitchFamily="34" charset="0"/>
              <a:buChar char="•"/>
              <a:defRPr sz="2400">
                <a:solidFill>
                  <a:schemeClr val="tx1"/>
                </a:solidFill>
                <a:latin typeface="Tw Cen MT"/>
                <a:ea typeface="微软雅黑" pitchFamily="34" charset="-122"/>
              </a:defRPr>
            </a:lvl2pPr>
            <a:lvl3pPr marL="1143000" indent="-228600" eaLnBrk="0" hangingPunct="0">
              <a:lnSpc>
                <a:spcPct val="90000"/>
              </a:lnSpc>
              <a:spcBef>
                <a:spcPts val="500"/>
              </a:spcBef>
              <a:buFont typeface="Arial" pitchFamily="34" charset="0"/>
              <a:buChar char="•"/>
              <a:defRPr sz="2000">
                <a:solidFill>
                  <a:schemeClr val="tx1"/>
                </a:solidFill>
                <a:latin typeface="Tw Cen MT"/>
                <a:ea typeface="微软雅黑" pitchFamily="34" charset="-122"/>
              </a:defRPr>
            </a:lvl3pPr>
            <a:lvl4pPr marL="1600200" indent="-228600" eaLnBrk="0" hangingPunct="0">
              <a:lnSpc>
                <a:spcPct val="90000"/>
              </a:lnSpc>
              <a:spcBef>
                <a:spcPts val="500"/>
              </a:spcBef>
              <a:buFont typeface="Arial" pitchFamily="34" charset="0"/>
              <a:buChar char="•"/>
              <a:defRPr>
                <a:solidFill>
                  <a:schemeClr val="tx1"/>
                </a:solidFill>
                <a:latin typeface="Tw Cen MT"/>
                <a:ea typeface="微软雅黑" pitchFamily="34" charset="-122"/>
              </a:defRPr>
            </a:lvl4pPr>
            <a:lvl5pPr marL="2057400" indent="-228600" eaLnBrk="0" hangingPunct="0">
              <a:lnSpc>
                <a:spcPct val="90000"/>
              </a:lnSpc>
              <a:spcBef>
                <a:spcPts val="500"/>
              </a:spcBef>
              <a:buFont typeface="Arial" pitchFamily="34" charset="0"/>
              <a:buChar char="•"/>
              <a:defRPr>
                <a:solidFill>
                  <a:schemeClr val="tx1"/>
                </a:solidFill>
                <a:latin typeface="Tw Cen MT"/>
                <a:ea typeface="微软雅黑" pitchFamily="34" charset="-122"/>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Tw Cen MT"/>
                <a:ea typeface="微软雅黑" pitchFamily="34" charset="-122"/>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Tw Cen MT"/>
                <a:ea typeface="微软雅黑" pitchFamily="34" charset="-122"/>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Tw Cen MT"/>
                <a:ea typeface="微软雅黑" pitchFamily="34" charset="-122"/>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Tw Cen MT"/>
                <a:ea typeface="微软雅黑" pitchFamily="34" charset="-122"/>
              </a:defRPr>
            </a:lvl9pPr>
          </a:lstStyle>
          <a:p>
            <a:pPr eaLnBrk="1" hangingPunct="1">
              <a:lnSpc>
                <a:spcPct val="100000"/>
              </a:lnSpc>
              <a:spcBef>
                <a:spcPct val="0"/>
              </a:spcBef>
              <a:buFontTx/>
              <a:buNone/>
            </a:pPr>
            <a:r>
              <a:rPr lang="en-US" altLang="zh-CN" sz="22000">
                <a:solidFill>
                  <a:srgbClr val="C00000"/>
                </a:solidFill>
                <a:latin typeface="Arial Unicode MS" pitchFamily="34" charset="-122"/>
                <a:ea typeface="Arial Unicode MS" pitchFamily="34" charset="-122"/>
                <a:cs typeface="Arial Unicode MS" pitchFamily="34" charset="-122"/>
              </a:rPr>
              <a:t>Q&amp;A</a:t>
            </a:r>
            <a:endParaRPr lang="zh-CN" altLang="en-US" sz="22000">
              <a:solidFill>
                <a:srgbClr val="C00000"/>
              </a:solidFill>
              <a:latin typeface="Arial Unicode MS" pitchFamily="34" charset="-122"/>
              <a:ea typeface="Arial Unicode MS" pitchFamily="34" charset="-122"/>
              <a:cs typeface="Arial Unicode MS" pitchFamily="34" charset="-122"/>
            </a:endParaRPr>
          </a:p>
        </p:txBody>
      </p:sp>
      <p:sp>
        <p:nvSpPr>
          <p:cNvPr id="67587" name="TextBox 5"/>
          <p:cNvSpPr txBox="1">
            <a:spLocks noChangeArrowheads="1"/>
          </p:cNvSpPr>
          <p:nvPr/>
        </p:nvSpPr>
        <p:spPr bwMode="auto">
          <a:xfrm>
            <a:off x="196850" y="46038"/>
            <a:ext cx="2881313"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000"/>
              </a:spcBef>
              <a:buFont typeface="Arial" pitchFamily="34" charset="0"/>
              <a:buChar char="•"/>
              <a:defRPr sz="2800">
                <a:solidFill>
                  <a:schemeClr val="tx1"/>
                </a:solidFill>
                <a:latin typeface="Tw Cen MT"/>
                <a:ea typeface="微软雅黑" pitchFamily="34" charset="-122"/>
              </a:defRPr>
            </a:lvl1pPr>
            <a:lvl2pPr marL="742950" indent="-285750" eaLnBrk="0" hangingPunct="0">
              <a:lnSpc>
                <a:spcPct val="90000"/>
              </a:lnSpc>
              <a:spcBef>
                <a:spcPts val="500"/>
              </a:spcBef>
              <a:buFont typeface="Arial" pitchFamily="34" charset="0"/>
              <a:buChar char="•"/>
              <a:defRPr sz="2400">
                <a:solidFill>
                  <a:schemeClr val="tx1"/>
                </a:solidFill>
                <a:latin typeface="Tw Cen MT"/>
                <a:ea typeface="微软雅黑" pitchFamily="34" charset="-122"/>
              </a:defRPr>
            </a:lvl2pPr>
            <a:lvl3pPr marL="1143000" indent="-228600" eaLnBrk="0" hangingPunct="0">
              <a:lnSpc>
                <a:spcPct val="90000"/>
              </a:lnSpc>
              <a:spcBef>
                <a:spcPts val="500"/>
              </a:spcBef>
              <a:buFont typeface="Arial" pitchFamily="34" charset="0"/>
              <a:buChar char="•"/>
              <a:defRPr sz="2000">
                <a:solidFill>
                  <a:schemeClr val="tx1"/>
                </a:solidFill>
                <a:latin typeface="Tw Cen MT"/>
                <a:ea typeface="微软雅黑" pitchFamily="34" charset="-122"/>
              </a:defRPr>
            </a:lvl3pPr>
            <a:lvl4pPr marL="1600200" indent="-228600" eaLnBrk="0" hangingPunct="0">
              <a:lnSpc>
                <a:spcPct val="90000"/>
              </a:lnSpc>
              <a:spcBef>
                <a:spcPts val="500"/>
              </a:spcBef>
              <a:buFont typeface="Arial" pitchFamily="34" charset="0"/>
              <a:buChar char="•"/>
              <a:defRPr>
                <a:solidFill>
                  <a:schemeClr val="tx1"/>
                </a:solidFill>
                <a:latin typeface="Tw Cen MT"/>
                <a:ea typeface="微软雅黑" pitchFamily="34" charset="-122"/>
              </a:defRPr>
            </a:lvl4pPr>
            <a:lvl5pPr marL="2057400" indent="-228600" eaLnBrk="0" hangingPunct="0">
              <a:lnSpc>
                <a:spcPct val="90000"/>
              </a:lnSpc>
              <a:spcBef>
                <a:spcPts val="500"/>
              </a:spcBef>
              <a:buFont typeface="Arial" pitchFamily="34" charset="0"/>
              <a:buChar char="•"/>
              <a:defRPr>
                <a:solidFill>
                  <a:schemeClr val="tx1"/>
                </a:solidFill>
                <a:latin typeface="Tw Cen MT"/>
                <a:ea typeface="微软雅黑" pitchFamily="34" charset="-122"/>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Tw Cen MT"/>
                <a:ea typeface="微软雅黑" pitchFamily="34" charset="-122"/>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Tw Cen MT"/>
                <a:ea typeface="微软雅黑" pitchFamily="34" charset="-122"/>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Tw Cen MT"/>
                <a:ea typeface="微软雅黑" pitchFamily="34" charset="-122"/>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Tw Cen MT"/>
                <a:ea typeface="微软雅黑" pitchFamily="34" charset="-122"/>
              </a:defRPr>
            </a:lvl9pPr>
          </a:lstStyle>
          <a:p>
            <a:pPr eaLnBrk="1" hangingPunct="1">
              <a:lnSpc>
                <a:spcPct val="100000"/>
              </a:lnSpc>
              <a:spcBef>
                <a:spcPct val="0"/>
              </a:spcBef>
              <a:buFontTx/>
              <a:buNone/>
            </a:pPr>
            <a:r>
              <a:rPr lang="zh-CN" altLang="en-US" sz="3200" b="1">
                <a:solidFill>
                  <a:schemeClr val="tx2"/>
                </a:solidFill>
                <a:latin typeface="微软雅黑" pitchFamily="34" charset="-122"/>
              </a:rPr>
              <a:t>谢谢</a:t>
            </a:r>
          </a:p>
        </p:txBody>
      </p:sp>
      <p:sp>
        <p:nvSpPr>
          <p:cNvPr id="67588" name="文本框 1"/>
          <p:cNvSpPr txBox="1">
            <a:spLocks noChangeArrowheads="1"/>
          </p:cNvSpPr>
          <p:nvPr/>
        </p:nvSpPr>
        <p:spPr bwMode="auto">
          <a:xfrm>
            <a:off x="581025" y="4618038"/>
            <a:ext cx="9429874" cy="1338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indent="-112713" eaLnBrk="0" hangingPunct="0">
              <a:lnSpc>
                <a:spcPct val="90000"/>
              </a:lnSpc>
              <a:spcBef>
                <a:spcPts val="1000"/>
              </a:spcBef>
              <a:buFont typeface="Arial" pitchFamily="34" charset="0"/>
              <a:buChar char="•"/>
              <a:defRPr sz="2800">
                <a:solidFill>
                  <a:schemeClr val="tx1"/>
                </a:solidFill>
                <a:latin typeface="Tw Cen MT"/>
                <a:ea typeface="微软雅黑" pitchFamily="34" charset="-122"/>
              </a:defRPr>
            </a:lvl1pPr>
            <a:lvl2pPr marL="742950" indent="-285750" eaLnBrk="0" hangingPunct="0">
              <a:lnSpc>
                <a:spcPct val="90000"/>
              </a:lnSpc>
              <a:spcBef>
                <a:spcPts val="500"/>
              </a:spcBef>
              <a:buFont typeface="Arial" pitchFamily="34" charset="0"/>
              <a:buChar char="•"/>
              <a:defRPr sz="2400">
                <a:solidFill>
                  <a:schemeClr val="tx1"/>
                </a:solidFill>
                <a:latin typeface="Tw Cen MT"/>
                <a:ea typeface="微软雅黑" pitchFamily="34" charset="-122"/>
              </a:defRPr>
            </a:lvl2pPr>
            <a:lvl3pPr marL="1143000" indent="-228600" eaLnBrk="0" hangingPunct="0">
              <a:lnSpc>
                <a:spcPct val="90000"/>
              </a:lnSpc>
              <a:spcBef>
                <a:spcPts val="500"/>
              </a:spcBef>
              <a:buFont typeface="Arial" pitchFamily="34" charset="0"/>
              <a:buChar char="•"/>
              <a:defRPr sz="2000">
                <a:solidFill>
                  <a:schemeClr val="tx1"/>
                </a:solidFill>
                <a:latin typeface="Tw Cen MT"/>
                <a:ea typeface="微软雅黑" pitchFamily="34" charset="-122"/>
              </a:defRPr>
            </a:lvl3pPr>
            <a:lvl4pPr marL="1600200" indent="-228600" eaLnBrk="0" hangingPunct="0">
              <a:lnSpc>
                <a:spcPct val="90000"/>
              </a:lnSpc>
              <a:spcBef>
                <a:spcPts val="500"/>
              </a:spcBef>
              <a:buFont typeface="Arial" pitchFamily="34" charset="0"/>
              <a:buChar char="•"/>
              <a:defRPr>
                <a:solidFill>
                  <a:schemeClr val="tx1"/>
                </a:solidFill>
                <a:latin typeface="Tw Cen MT"/>
                <a:ea typeface="微软雅黑" pitchFamily="34" charset="-122"/>
              </a:defRPr>
            </a:lvl4pPr>
            <a:lvl5pPr marL="2057400" indent="-228600" eaLnBrk="0" hangingPunct="0">
              <a:lnSpc>
                <a:spcPct val="90000"/>
              </a:lnSpc>
              <a:spcBef>
                <a:spcPts val="500"/>
              </a:spcBef>
              <a:buFont typeface="Arial" pitchFamily="34" charset="0"/>
              <a:buChar char="•"/>
              <a:defRPr>
                <a:solidFill>
                  <a:schemeClr val="tx1"/>
                </a:solidFill>
                <a:latin typeface="Tw Cen MT"/>
                <a:ea typeface="微软雅黑" pitchFamily="34" charset="-122"/>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Tw Cen MT"/>
                <a:ea typeface="微软雅黑" pitchFamily="34" charset="-122"/>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Tw Cen MT"/>
                <a:ea typeface="微软雅黑" pitchFamily="34" charset="-122"/>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Tw Cen MT"/>
                <a:ea typeface="微软雅黑" pitchFamily="34" charset="-122"/>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Tw Cen MT"/>
                <a:ea typeface="微软雅黑" pitchFamily="34" charset="-122"/>
              </a:defRPr>
            </a:lvl9pPr>
          </a:lstStyle>
          <a:p>
            <a:pPr eaLnBrk="1" hangingPunct="1">
              <a:lnSpc>
                <a:spcPct val="150000"/>
              </a:lnSpc>
              <a:spcBef>
                <a:spcPct val="0"/>
              </a:spcBef>
              <a:buFontTx/>
              <a:buNone/>
            </a:pPr>
            <a:r>
              <a:rPr lang="zh-CN" altLang="en-US" sz="1800" b="1">
                <a:solidFill>
                  <a:srgbClr val="001D59"/>
                </a:solidFill>
                <a:latin typeface="Georgia" pitchFamily="18" charset="0"/>
                <a:sym typeface="微软雅黑" pitchFamily="34" charset="-122"/>
              </a:rPr>
              <a:t>薛博士</a:t>
            </a:r>
          </a:p>
          <a:p>
            <a:pPr eaLnBrk="1" hangingPunct="1">
              <a:lnSpc>
                <a:spcPct val="150000"/>
              </a:lnSpc>
              <a:spcBef>
                <a:spcPct val="0"/>
              </a:spcBef>
              <a:buFontTx/>
              <a:buNone/>
            </a:pPr>
            <a:r>
              <a:rPr lang="zh-CN" altLang="en-US" sz="1800" b="1">
                <a:solidFill>
                  <a:srgbClr val="001D59"/>
                </a:solidFill>
                <a:latin typeface="Georgia" pitchFamily="18" charset="0"/>
                <a:sym typeface="微软雅黑" pitchFamily="34" charset="-122"/>
              </a:rPr>
              <a:t>主讲领域</a:t>
            </a:r>
            <a:r>
              <a:rPr lang="zh-CN" altLang="en-US" sz="1800" b="1" smtClean="0">
                <a:solidFill>
                  <a:srgbClr val="001D59"/>
                </a:solidFill>
                <a:latin typeface="Georgia" pitchFamily="18" charset="0"/>
                <a:sym typeface="微软雅黑" pitchFamily="34" charset="-122"/>
              </a:rPr>
              <a:t>：信息系统</a:t>
            </a:r>
            <a:r>
              <a:rPr lang="zh-CN" altLang="en-US" sz="1800" b="1">
                <a:solidFill>
                  <a:srgbClr val="001D59"/>
                </a:solidFill>
                <a:latin typeface="Georgia" pitchFamily="18" charset="0"/>
                <a:sym typeface="微软雅黑" pitchFamily="34" charset="-122"/>
              </a:rPr>
              <a:t>项目管理师</a:t>
            </a:r>
            <a:r>
              <a:rPr lang="zh-CN" altLang="en-US" sz="1800" b="1" smtClean="0">
                <a:solidFill>
                  <a:srgbClr val="001D59"/>
                </a:solidFill>
                <a:latin typeface="Georgia" pitchFamily="18" charset="0"/>
                <a:sym typeface="微软雅黑" pitchFamily="34" charset="-122"/>
              </a:rPr>
              <a:t>、</a:t>
            </a:r>
            <a:r>
              <a:rPr lang="zh-CN" altLang="en-US" sz="1800" b="1">
                <a:solidFill>
                  <a:srgbClr val="001D59"/>
                </a:solidFill>
                <a:latin typeface="Georgia" pitchFamily="18" charset="0"/>
                <a:sym typeface="微软雅黑" pitchFamily="34" charset="-122"/>
              </a:rPr>
              <a:t>系统分析师、</a:t>
            </a:r>
            <a:r>
              <a:rPr lang="zh-CN" altLang="en-US" sz="1800" b="1" smtClean="0">
                <a:solidFill>
                  <a:srgbClr val="001D59"/>
                </a:solidFill>
                <a:latin typeface="Georgia" pitchFamily="18" charset="0"/>
                <a:sym typeface="微软雅黑" pitchFamily="34" charset="-122"/>
              </a:rPr>
              <a:t>系统架构设计师、系统规划与管理师</a:t>
            </a:r>
            <a:endParaRPr lang="en-US" altLang="zh-CN" sz="1800" b="1">
              <a:solidFill>
                <a:srgbClr val="001D59"/>
              </a:solidFill>
              <a:latin typeface="Georgia" pitchFamily="18" charset="0"/>
              <a:sym typeface="微软雅黑" pitchFamily="34" charset="-122"/>
            </a:endParaRPr>
          </a:p>
          <a:p>
            <a:pPr eaLnBrk="1" hangingPunct="1">
              <a:lnSpc>
                <a:spcPct val="150000"/>
              </a:lnSpc>
              <a:spcBef>
                <a:spcPct val="0"/>
              </a:spcBef>
              <a:buFontTx/>
              <a:buNone/>
            </a:pPr>
            <a:r>
              <a:rPr lang="zh-CN" altLang="en-US" sz="1800" b="1">
                <a:solidFill>
                  <a:srgbClr val="C00000"/>
                </a:solidFill>
                <a:latin typeface="Georgia" pitchFamily="18" charset="0"/>
                <a:sym typeface="微软雅黑" pitchFamily="34" charset="-122"/>
              </a:rPr>
              <a:t>薛博士版权所有，已申请知识产权保护，侵权必究！</a:t>
            </a:r>
          </a:p>
        </p:txBody>
      </p:sp>
      <p:pic>
        <p:nvPicPr>
          <p:cNvPr id="67589" name="图片 4" descr="T13xZTBXJv1RCvBVdK"/>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699250" y="1023938"/>
            <a:ext cx="5283200" cy="403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99250" y="1023938"/>
            <a:ext cx="5340350" cy="3346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2418522"/>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31963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A_标题 1">
            <a:extLst>
              <a:ext uri="{FF2B5EF4-FFF2-40B4-BE49-F238E27FC236}">
                <a16:creationId xmlns:a16="http://schemas.microsoft.com/office/drawing/2014/main" xmlns="" id="{A3D9A432-3FF1-423E-8F35-66DEDBE0CC3B}"/>
              </a:ext>
            </a:extLst>
          </p:cNvPr>
          <p:cNvSpPr txBox="1">
            <a:spLocks/>
          </p:cNvSpPr>
          <p:nvPr>
            <p:custDataLst>
              <p:tags r:id="rId1"/>
            </p:custDataLst>
          </p:nvPr>
        </p:nvSpPr>
        <p:spPr>
          <a:xfrm>
            <a:off x="446811" y="2242845"/>
            <a:ext cx="8465695" cy="10800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黑体" panose="02010609060101010101" pitchFamily="49" charset="-122"/>
                <a:ea typeface="黑体" panose="02010609060101010101" pitchFamily="49" charset="-122"/>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zh-CN" altLang="en-US" sz="6600" b="1" i="0" u="none" strike="noStrike" kern="1200" cap="none" spc="-150" normalizeH="0" baseline="0" noProof="0" smtClean="0">
                <a:ln>
                  <a:noFill/>
                </a:ln>
                <a:effectLst/>
                <a:uLnTx/>
                <a:uFillTx/>
                <a:latin typeface="+mn-ea"/>
                <a:ea typeface="+mn-ea"/>
              </a:rPr>
              <a:t>项目</a:t>
            </a:r>
            <a:r>
              <a:rPr lang="en-US" altLang="zh-CN" sz="6600" spc="-150" smtClean="0">
                <a:latin typeface="+mn-ea"/>
                <a:ea typeface="+mn-ea"/>
              </a:rPr>
              <a:t>&amp;</a:t>
            </a:r>
            <a:r>
              <a:rPr lang="zh-CN" altLang="en-US" sz="6600" spc="-150" smtClean="0">
                <a:latin typeface="+mn-ea"/>
                <a:ea typeface="+mn-ea"/>
              </a:rPr>
              <a:t>项目</a:t>
            </a:r>
            <a:r>
              <a:rPr kumimoji="0" lang="zh-CN" altLang="en-US" sz="6600" b="1" i="0" u="none" strike="noStrike" kern="1200" cap="none" spc="-150" normalizeH="0" baseline="0" noProof="0" smtClean="0">
                <a:ln>
                  <a:noFill/>
                </a:ln>
                <a:effectLst/>
                <a:uLnTx/>
                <a:uFillTx/>
                <a:latin typeface="+mn-ea"/>
                <a:ea typeface="+mn-ea"/>
              </a:rPr>
              <a:t>管理</a:t>
            </a:r>
            <a:endParaRPr kumimoji="0" lang="zh-CN" altLang="en-US" sz="6600" b="1" i="0" u="none" strike="noStrike" kern="1200" cap="none" spc="-150" normalizeH="0" baseline="0" noProof="0" dirty="0">
              <a:ln>
                <a:noFill/>
              </a:ln>
              <a:effectLst/>
              <a:uLnTx/>
              <a:uFillTx/>
              <a:latin typeface="+mn-ea"/>
              <a:ea typeface="+mn-ea"/>
            </a:endParaRPr>
          </a:p>
        </p:txBody>
      </p:sp>
      <p:sp>
        <p:nvSpPr>
          <p:cNvPr id="6" name="矩形: 圆角 5">
            <a:extLst>
              <a:ext uri="{FF2B5EF4-FFF2-40B4-BE49-F238E27FC236}">
                <a16:creationId xmlns:a16="http://schemas.microsoft.com/office/drawing/2014/main" xmlns="" id="{91149416-FA23-4423-A71E-41E29210B0E5}"/>
              </a:ext>
            </a:extLst>
          </p:cNvPr>
          <p:cNvSpPr/>
          <p:nvPr>
            <p:custDataLst>
              <p:tags r:id="rId2"/>
            </p:custDataLst>
          </p:nvPr>
        </p:nvSpPr>
        <p:spPr>
          <a:xfrm>
            <a:off x="446813" y="857314"/>
            <a:ext cx="2160000" cy="612000"/>
          </a:xfrm>
          <a:prstGeom prst="roundRect">
            <a:avLst/>
          </a:prstGeom>
          <a:solidFill>
            <a:srgbClr val="C00000"/>
          </a:solidFill>
          <a:ln w="12700" cap="flat" cmpd="sng" algn="ctr">
            <a:noFill/>
            <a:prstDash val="solid"/>
            <a:miter lim="800000"/>
          </a:ln>
          <a:effectLst>
            <a:outerShdw blurRad="342900" dist="228600" dir="5400000" algn="t"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400" b="1" i="0" u="none" strike="noStrike" kern="0" cap="none" spc="0" normalizeH="0" baseline="0" noProof="0" smtClean="0">
                <a:ln>
                  <a:noFill/>
                </a:ln>
                <a:solidFill>
                  <a:schemeClr val="bg1"/>
                </a:solidFill>
                <a:effectLst/>
                <a:uLnTx/>
                <a:uFillTx/>
                <a:latin typeface="+mn-ea"/>
                <a:cs typeface="+mn-cs"/>
              </a:rPr>
              <a:t>九阳神功专题</a:t>
            </a:r>
            <a:endParaRPr kumimoji="0" lang="zh-CN" altLang="en-US" sz="2400" b="1" i="0" u="none" strike="noStrike" kern="0" cap="none" spc="0" normalizeH="0" baseline="0" noProof="0" dirty="0">
              <a:ln>
                <a:noFill/>
              </a:ln>
              <a:solidFill>
                <a:schemeClr val="bg1"/>
              </a:solidFill>
              <a:effectLst/>
              <a:uLnTx/>
              <a:uFillTx/>
              <a:latin typeface="+mn-ea"/>
              <a:cs typeface="+mn-cs"/>
            </a:endParaRPr>
          </a:p>
        </p:txBody>
      </p:sp>
      <p:sp>
        <p:nvSpPr>
          <p:cNvPr id="7" name="矩形 6">
            <a:extLst>
              <a:ext uri="{FF2B5EF4-FFF2-40B4-BE49-F238E27FC236}">
                <a16:creationId xmlns:a16="http://schemas.microsoft.com/office/drawing/2014/main" xmlns="" id="{0444A4C1-E019-481D-B85F-52CD79D9ED1B}"/>
              </a:ext>
            </a:extLst>
          </p:cNvPr>
          <p:cNvSpPr/>
          <p:nvPr>
            <p:custDataLst>
              <p:tags r:id="rId3"/>
            </p:custDataLst>
          </p:nvPr>
        </p:nvSpPr>
        <p:spPr>
          <a:xfrm>
            <a:off x="2606812" y="3866294"/>
            <a:ext cx="2646878" cy="584775"/>
          </a:xfrm>
          <a:prstGeom prst="rect">
            <a:avLst/>
          </a:prstGeom>
        </p:spPr>
        <p:txBody>
          <a:bodyPr wrap="none">
            <a:spAutoFit/>
          </a:bodyPr>
          <a:lstStyle/>
          <a:p>
            <a:pPr algn="ctr"/>
            <a:r>
              <a:rPr lang="zh-CN" altLang="en-US" sz="3200" b="1" smtClean="0">
                <a:latin typeface="+mn-ea"/>
              </a:rPr>
              <a:t>授课：薛大龙</a:t>
            </a:r>
            <a:endParaRPr lang="zh-CN" altLang="en-US" sz="3200" b="1" dirty="0">
              <a:latin typeface="+mn-ea"/>
            </a:endParaRPr>
          </a:p>
        </p:txBody>
      </p:sp>
      <p:sp>
        <p:nvSpPr>
          <p:cNvPr id="8" name="矩形 7">
            <a:extLst>
              <a:ext uri="{FF2B5EF4-FFF2-40B4-BE49-F238E27FC236}">
                <a16:creationId xmlns:a16="http://schemas.microsoft.com/office/drawing/2014/main" xmlns="" id="{0444A4C1-E019-481D-B85F-52CD79D9ED1B}"/>
              </a:ext>
            </a:extLst>
          </p:cNvPr>
          <p:cNvSpPr/>
          <p:nvPr>
            <p:custDataLst>
              <p:tags r:id="rId4"/>
            </p:custDataLst>
          </p:nvPr>
        </p:nvSpPr>
        <p:spPr>
          <a:xfrm>
            <a:off x="620433" y="4745969"/>
            <a:ext cx="8044405" cy="1015663"/>
          </a:xfrm>
          <a:prstGeom prst="rect">
            <a:avLst/>
          </a:prstGeom>
        </p:spPr>
        <p:txBody>
          <a:bodyPr wrap="square">
            <a:spAutoFit/>
          </a:bodyPr>
          <a:lstStyle/>
          <a:p>
            <a:pPr>
              <a:lnSpc>
                <a:spcPct val="150000"/>
              </a:lnSpc>
            </a:pPr>
            <a:r>
              <a:rPr lang="zh-CN" altLang="en-US" sz="2000" smtClean="0">
                <a:latin typeface="+mn-ea"/>
              </a:rPr>
              <a:t>简介：中共党员、北京理工大学博士研究生、多所大学客座教授、北京市评标专家，多次参与软考的</a:t>
            </a:r>
            <a:r>
              <a:rPr lang="zh-CN" altLang="en-US" sz="2000" b="1" smtClean="0">
                <a:solidFill>
                  <a:srgbClr val="FF0000"/>
                </a:solidFill>
                <a:latin typeface="+mn-ea"/>
              </a:rPr>
              <a:t>命题与阅卷</a:t>
            </a:r>
            <a:r>
              <a:rPr lang="zh-CN" altLang="en-US" sz="2000" smtClean="0">
                <a:latin typeface="+mn-ea"/>
              </a:rPr>
              <a:t>，主编出版专著超过</a:t>
            </a:r>
            <a:r>
              <a:rPr lang="en-US" altLang="zh-CN" sz="2000" smtClean="0">
                <a:latin typeface="+mn-ea"/>
              </a:rPr>
              <a:t>60</a:t>
            </a:r>
            <a:r>
              <a:rPr lang="zh-CN" altLang="en-US" sz="2000" smtClean="0">
                <a:latin typeface="+mn-ea"/>
              </a:rPr>
              <a:t>部！</a:t>
            </a:r>
            <a:endParaRPr lang="zh-CN" altLang="en-US" sz="2000" dirty="0">
              <a:latin typeface="+mn-ea"/>
            </a:endParaRPr>
          </a:p>
        </p:txBody>
      </p:sp>
    </p:spTree>
    <p:extLst>
      <p:ext uri="{BB962C8B-B14F-4D97-AF65-F5344CB8AC3E}">
        <p14:creationId xmlns:p14="http://schemas.microsoft.com/office/powerpoint/2010/main" val="44578608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标题 1"/>
          <p:cNvSpPr>
            <a:spLocks noGrp="1"/>
          </p:cNvSpPr>
          <p:nvPr>
            <p:ph type="title"/>
          </p:nvPr>
        </p:nvSpPr>
        <p:spPr>
          <a:xfrm>
            <a:off x="1081088" y="1685925"/>
            <a:ext cx="4973637" cy="568325"/>
          </a:xfrm>
        </p:spPr>
        <p:txBody>
          <a:bodyPr/>
          <a:lstStyle/>
          <a:p>
            <a:pPr algn="r" eaLnBrk="1" fontAlgn="auto" hangingPunct="1">
              <a:defRPr/>
            </a:pPr>
            <a:r>
              <a:rPr sz="4400" kern="0" noProof="0" dirty="0">
                <a:solidFill>
                  <a:srgbClr val="C00000"/>
                </a:solidFill>
                <a:latin typeface="微软雅黑" panose="020B0503020204020204" pitchFamily="34" charset="-122"/>
              </a:rPr>
              <a:t>一切皆项目</a:t>
            </a:r>
          </a:p>
        </p:txBody>
      </p:sp>
      <p:pic>
        <p:nvPicPr>
          <p:cNvPr id="18434" name="图片 1" descr="u=949626894,963500149&amp;fm=26&amp;gp=0"/>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13488" y="2738438"/>
            <a:ext cx="2311400" cy="138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5" name="图片 7" descr="u=3005448692,3789570174&amp;fm=26&amp;gp=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8825" y="4356100"/>
            <a:ext cx="2255838" cy="149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6" name="图片 8" descr="u=3983655010,3575044410&amp;fm=26&amp;gp=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63950" y="2738438"/>
            <a:ext cx="2293938" cy="138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7" name="图片 9" descr="u=1680679000,4276355328&amp;fm=26&amp;gp=0"/>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8825" y="2716213"/>
            <a:ext cx="2417763" cy="140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8" name="图片 10" descr="u=535504196,3457368516&amp;fm=26&amp;gp=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68700" y="4356100"/>
            <a:ext cx="2489200" cy="149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 descr="http://www.ruankao.org.cn/asset/upload/file/20180629/image_15302641907460.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50782" y="4295039"/>
            <a:ext cx="2436812" cy="1620721"/>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250782" y="4218839"/>
            <a:ext cx="2485471" cy="1794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77"/>
                                        </p:tgtEl>
                                        <p:attrNameLst>
                                          <p:attrName>style.visibility</p:attrName>
                                        </p:attrNameLst>
                                      </p:cBhvr>
                                      <p:to>
                                        <p:strVal val="visible"/>
                                      </p:to>
                                    </p:set>
                                    <p:anim calcmode="lin" valueType="num">
                                      <p:cBhvr additive="base">
                                        <p:cTn id="7" dur="500" fill="hold"/>
                                        <p:tgtEl>
                                          <p:spTgt spid="3077"/>
                                        </p:tgtEl>
                                        <p:attrNameLst>
                                          <p:attrName>ppt_x</p:attrName>
                                        </p:attrNameLst>
                                      </p:cBhvr>
                                      <p:tavLst>
                                        <p:tav tm="0">
                                          <p:val>
                                            <p:strVal val="#ppt_x"/>
                                          </p:val>
                                        </p:tav>
                                        <p:tav tm="100000">
                                          <p:val>
                                            <p:strVal val="#ppt_x"/>
                                          </p:val>
                                        </p:tav>
                                      </p:tavLst>
                                    </p:anim>
                                    <p:anim calcmode="lin" valueType="num">
                                      <p:cBhvr additive="base">
                                        <p:cTn id="8" dur="500" fill="hold"/>
                                        <p:tgtEl>
                                          <p:spTgt spid="307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Rectangle 2"/>
          <p:cNvSpPr>
            <a:spLocks noGrp="1" noChangeArrowheads="1"/>
          </p:cNvSpPr>
          <p:nvPr>
            <p:ph type="title"/>
          </p:nvPr>
        </p:nvSpPr>
        <p:spPr>
          <a:xfrm>
            <a:off x="641350" y="531813"/>
            <a:ext cx="7761671" cy="401637"/>
          </a:xfrm>
        </p:spPr>
        <p:txBody>
          <a:bodyPr/>
          <a:lstStyle/>
          <a:p>
            <a:pPr eaLnBrk="1" hangingPunct="1"/>
            <a:r>
              <a:rPr lang="zh-CN" altLang="en-US" smtClean="0"/>
              <a:t>软考中的项目管理部分，是来自于</a:t>
            </a:r>
            <a:r>
              <a:rPr lang="en-US" smtClean="0"/>
              <a:t>PMBOK</a:t>
            </a:r>
            <a:r>
              <a:rPr lang="en-US" altLang="zh-CN" i="1" baseline="30000" smtClean="0">
                <a:solidFill>
                  <a:srgbClr val="002060"/>
                </a:solidFill>
                <a:sym typeface="微软雅黑" pitchFamily="34" charset="-122"/>
              </a:rPr>
              <a:t>®</a:t>
            </a:r>
            <a:endParaRPr smtClean="0"/>
          </a:p>
        </p:txBody>
      </p:sp>
      <p:sp>
        <p:nvSpPr>
          <p:cNvPr id="3" name="文本框 2"/>
          <p:cNvSpPr txBox="1"/>
          <p:nvPr/>
        </p:nvSpPr>
        <p:spPr>
          <a:xfrm>
            <a:off x="465138" y="1058863"/>
            <a:ext cx="8466137" cy="2122487"/>
          </a:xfrm>
          <a:prstGeom prst="rect">
            <a:avLst/>
          </a:prstGeom>
          <a:noFill/>
        </p:spPr>
        <p:txBody>
          <a:bodyPr>
            <a:spAutoFit/>
          </a:bodyPr>
          <a:lstStyle/>
          <a:p>
            <a:pPr>
              <a:lnSpc>
                <a:spcPct val="150000"/>
              </a:lnSpc>
              <a:buClr>
                <a:srgbClr val="C00000"/>
              </a:buClr>
              <a:buFont typeface="微软雅黑" panose="020B0503020204020204" pitchFamily="34" charset="-122"/>
              <a:buNone/>
              <a:defRPr/>
            </a:pPr>
            <a:r>
              <a:rPr lang="en-US" altLang="zh-CN" sz="1600" b="1" i="1" noProof="1">
                <a:solidFill>
                  <a:srgbClr val="002060"/>
                </a:solidFill>
                <a:latin typeface="Georgia" panose="02040502050405020303" pitchFamily="18" charset="0"/>
                <a:ea typeface="+mn-ea"/>
                <a:cs typeface="+mn-ea"/>
                <a:sym typeface="+mn-ea"/>
              </a:rPr>
              <a:t>《PMBOK</a:t>
            </a:r>
            <a:r>
              <a:rPr lang="en-US" altLang="zh-CN" sz="1600" b="1" i="1" baseline="30000" noProof="1">
                <a:solidFill>
                  <a:srgbClr val="002060"/>
                </a:solidFill>
                <a:latin typeface="Georgia" panose="02040502050405020303" pitchFamily="18" charset="0"/>
                <a:ea typeface="+mn-ea"/>
                <a:cs typeface="+mn-ea"/>
                <a:sym typeface="+mn-ea"/>
              </a:rPr>
              <a:t>® </a:t>
            </a:r>
            <a:r>
              <a:rPr lang="en-US" altLang="zh-CN" sz="1600" b="1" i="1" noProof="1">
                <a:solidFill>
                  <a:srgbClr val="002060"/>
                </a:solidFill>
                <a:latin typeface="Georgia" panose="02040502050405020303" pitchFamily="18" charset="0"/>
                <a:ea typeface="+mn-ea"/>
                <a:cs typeface="+mn-ea"/>
                <a:sym typeface="+mn-ea"/>
              </a:rPr>
              <a:t>指南》收录项目管理知识体系中被普遍认可为“良好实践”的那一部分。</a:t>
            </a:r>
          </a:p>
          <a:p>
            <a:pPr marL="285750" indent="-285750">
              <a:lnSpc>
                <a:spcPct val="150000"/>
              </a:lnSpc>
              <a:buClr>
                <a:srgbClr val="C00000"/>
              </a:buClr>
              <a:buFont typeface="Wingdings" panose="05000000000000000000" charset="0"/>
              <a:buChar char="X"/>
              <a:defRPr/>
            </a:pPr>
            <a:r>
              <a:rPr lang="en-US" altLang="zh-CN" sz="1600" b="1" i="1" noProof="1">
                <a:solidFill>
                  <a:srgbClr val="002060"/>
                </a:solidFill>
                <a:latin typeface="Georgia" panose="02040502050405020303" pitchFamily="18" charset="0"/>
                <a:ea typeface="+mn-ea"/>
                <a:cs typeface="+mn-ea"/>
                <a:sym typeface="+mn-ea"/>
              </a:rPr>
              <a:t>所谓“</a:t>
            </a:r>
            <a:r>
              <a:rPr lang="en-US" altLang="zh-CN" sz="2000" b="1" i="1" noProof="1">
                <a:solidFill>
                  <a:srgbClr val="C00000"/>
                </a:solidFill>
                <a:latin typeface="Georgia" panose="02040502050405020303" pitchFamily="18" charset="0"/>
                <a:ea typeface="+mn-ea"/>
                <a:cs typeface="+mn-ea"/>
                <a:sym typeface="+mn-ea"/>
              </a:rPr>
              <a:t>普遍认可</a:t>
            </a:r>
            <a:r>
              <a:rPr lang="en-US" altLang="zh-CN" sz="1600" b="1" i="1" noProof="1">
                <a:solidFill>
                  <a:srgbClr val="002060"/>
                </a:solidFill>
                <a:latin typeface="Georgia" panose="02040502050405020303" pitchFamily="18" charset="0"/>
                <a:ea typeface="+mn-ea"/>
                <a:cs typeface="+mn-ea"/>
                <a:sym typeface="+mn-ea"/>
              </a:rPr>
              <a:t>”，是指这些知识和做法在大多数时候适用于大多数项目，并且其价值和有效性已获得一致认可。</a:t>
            </a:r>
          </a:p>
          <a:p>
            <a:pPr marL="285750" indent="-285750">
              <a:lnSpc>
                <a:spcPct val="150000"/>
              </a:lnSpc>
              <a:buClr>
                <a:srgbClr val="C00000"/>
              </a:buClr>
              <a:buFont typeface="Wingdings" panose="05000000000000000000" charset="0"/>
              <a:buChar char="X"/>
              <a:defRPr/>
            </a:pPr>
            <a:r>
              <a:rPr lang="en-US" altLang="zh-CN" sz="1600" b="1" i="1" noProof="1">
                <a:solidFill>
                  <a:srgbClr val="002060"/>
                </a:solidFill>
                <a:latin typeface="Georgia" panose="02040502050405020303" pitchFamily="18" charset="0"/>
                <a:ea typeface="+mn-ea"/>
                <a:cs typeface="+mn-ea"/>
                <a:sym typeface="+mn-ea"/>
              </a:rPr>
              <a:t>所谓“</a:t>
            </a:r>
            <a:r>
              <a:rPr lang="en-US" altLang="zh-CN" sz="2000" b="1" i="1" noProof="1">
                <a:solidFill>
                  <a:srgbClr val="C00000"/>
                </a:solidFill>
                <a:latin typeface="Georgia" panose="02040502050405020303" pitchFamily="18" charset="0"/>
                <a:ea typeface="+mn-ea"/>
                <a:cs typeface="+mn-ea"/>
                <a:sym typeface="+mn-ea"/>
              </a:rPr>
              <a:t>良好实践</a:t>
            </a:r>
            <a:r>
              <a:rPr lang="en-US" altLang="zh-CN" sz="1600" b="1" i="1" noProof="1">
                <a:solidFill>
                  <a:srgbClr val="002060"/>
                </a:solidFill>
                <a:latin typeface="Georgia" panose="02040502050405020303" pitchFamily="18" charset="0"/>
                <a:ea typeface="+mn-ea"/>
                <a:cs typeface="+mn-ea"/>
                <a:sym typeface="+mn-ea"/>
              </a:rPr>
              <a:t>”，则指人们普遍认为，在项目管理过程中使用这些知识、技能、工具和技术，能够达成预期的商业价值和成果，从而</a:t>
            </a:r>
            <a:r>
              <a:rPr lang="en-US" altLang="zh-CN" sz="1600" b="1" i="1" u="sng" noProof="1">
                <a:solidFill>
                  <a:srgbClr val="C00000"/>
                </a:solidFill>
                <a:latin typeface="Georgia" panose="02040502050405020303" pitchFamily="18" charset="0"/>
                <a:ea typeface="+mn-ea"/>
                <a:cs typeface="+mn-ea"/>
                <a:sym typeface="+mn-ea"/>
              </a:rPr>
              <a:t>提高很多项目成功的可能性</a:t>
            </a:r>
            <a:r>
              <a:rPr lang="en-US" altLang="zh-CN" sz="1600" b="1" i="1" noProof="1">
                <a:solidFill>
                  <a:srgbClr val="002060"/>
                </a:solidFill>
                <a:latin typeface="Georgia" panose="02040502050405020303" pitchFamily="18" charset="0"/>
                <a:ea typeface="+mn-ea"/>
                <a:cs typeface="+mn-ea"/>
                <a:sym typeface="+mn-ea"/>
              </a:rPr>
              <a:t>。</a:t>
            </a:r>
          </a:p>
        </p:txBody>
      </p:sp>
      <p:sp>
        <p:nvSpPr>
          <p:cNvPr id="20483" name="文本框 1"/>
          <p:cNvSpPr txBox="1">
            <a:spLocks noChangeArrowheads="1"/>
          </p:cNvSpPr>
          <p:nvPr/>
        </p:nvSpPr>
        <p:spPr bwMode="auto">
          <a:xfrm>
            <a:off x="3167063" y="5073650"/>
            <a:ext cx="497205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120000"/>
              </a:lnSpc>
            </a:pPr>
            <a:r>
              <a:rPr lang="zh-CN" altLang="en-US" sz="2000" b="1" i="1" smtClean="0">
                <a:solidFill>
                  <a:srgbClr val="00B050"/>
                </a:solidFill>
                <a:latin typeface="Georgia" pitchFamily="18" charset="0"/>
                <a:sym typeface="微软雅黑" pitchFamily="34" charset="-122"/>
              </a:rPr>
              <a:t>薛大龙博士解读</a:t>
            </a:r>
            <a:r>
              <a:rPr lang="zh-CN" altLang="en-US" sz="2000" b="1" i="1">
                <a:solidFill>
                  <a:srgbClr val="00B050"/>
                </a:solidFill>
                <a:latin typeface="Georgia" pitchFamily="18" charset="0"/>
                <a:sym typeface="微软雅黑" pitchFamily="34" charset="-122"/>
              </a:rPr>
              <a:t>：</a:t>
            </a:r>
            <a:r>
              <a:rPr lang="en-US" altLang="zh-CN" sz="2000" b="1" i="1">
                <a:solidFill>
                  <a:srgbClr val="002060"/>
                </a:solidFill>
                <a:latin typeface="Georgia" pitchFamily="18" charset="0"/>
                <a:sym typeface="微软雅黑" pitchFamily="34" charset="-122"/>
              </a:rPr>
              <a:t>《PMBOK</a:t>
            </a:r>
            <a:r>
              <a:rPr lang="en-US" altLang="zh-CN" sz="2000" b="1" i="1" baseline="30000">
                <a:solidFill>
                  <a:srgbClr val="002060"/>
                </a:solidFill>
                <a:latin typeface="Georgia" pitchFamily="18" charset="0"/>
                <a:sym typeface="微软雅黑" pitchFamily="34" charset="-122"/>
              </a:rPr>
              <a:t>® </a:t>
            </a:r>
            <a:r>
              <a:rPr lang="en-US" altLang="zh-CN" sz="2000" b="1" i="1">
                <a:solidFill>
                  <a:srgbClr val="002060"/>
                </a:solidFill>
                <a:latin typeface="Georgia" pitchFamily="18" charset="0"/>
                <a:sym typeface="微软雅黑" pitchFamily="34" charset="-122"/>
              </a:rPr>
              <a:t>指南》</a:t>
            </a:r>
            <a:r>
              <a:rPr lang="zh-CN" altLang="en-US" sz="2000" b="1" i="1">
                <a:solidFill>
                  <a:srgbClr val="C00000"/>
                </a:solidFill>
                <a:latin typeface="Georgia" pitchFamily="18" charset="0"/>
                <a:sym typeface="微软雅黑" pitchFamily="34" charset="-122"/>
              </a:rPr>
              <a:t>普遍认可、良好实践、适当裁剪、灵活运用。</a:t>
            </a:r>
            <a:endParaRPr lang="zh-CN" altLang="en-US">
              <a:sym typeface="微软雅黑" pitchFamily="34" charset="-122"/>
            </a:endParaRPr>
          </a:p>
        </p:txBody>
      </p:sp>
      <p:pic>
        <p:nvPicPr>
          <p:cNvPr id="20484" name="图片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4063" y="3492500"/>
            <a:ext cx="2297112" cy="226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5" name="文本框 3"/>
          <p:cNvSpPr txBox="1">
            <a:spLocks noChangeArrowheads="1"/>
          </p:cNvSpPr>
          <p:nvPr/>
        </p:nvSpPr>
        <p:spPr bwMode="auto">
          <a:xfrm>
            <a:off x="3051175" y="3308350"/>
            <a:ext cx="5881688" cy="757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120000"/>
              </a:lnSpc>
            </a:pPr>
            <a:r>
              <a:rPr lang="zh-CN" altLang="en-US"/>
              <a:t>《</a:t>
            </a:r>
            <a:r>
              <a:rPr lang="zh-CN" altLang="en-US">
                <a:latin typeface="Georgia" pitchFamily="18" charset="0"/>
              </a:rPr>
              <a:t>PMBOK</a:t>
            </a:r>
            <a:r>
              <a:rPr lang="zh-CN" altLang="en-US" baseline="30000">
                <a:latin typeface="Georgia" pitchFamily="18" charset="0"/>
              </a:rPr>
              <a:t>®</a:t>
            </a:r>
            <a:r>
              <a:rPr lang="zh-CN" altLang="en-US"/>
              <a:t> 指南》是组织制定实践项目管理所需方法论、政策、程序、规则、工具、技术和生命周期阶段的基础。</a:t>
            </a:r>
          </a:p>
        </p:txBody>
      </p:sp>
      <p:sp>
        <p:nvSpPr>
          <p:cNvPr id="20486" name="文本框 4"/>
          <p:cNvSpPr txBox="1">
            <a:spLocks noChangeArrowheads="1"/>
          </p:cNvSpPr>
          <p:nvPr/>
        </p:nvSpPr>
        <p:spPr bwMode="auto">
          <a:xfrm>
            <a:off x="3167063" y="4191000"/>
            <a:ext cx="5765800" cy="757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120000"/>
              </a:lnSpc>
            </a:pPr>
            <a:r>
              <a:rPr lang="zh-CN" altLang="en-US">
                <a:sym typeface="微软雅黑" pitchFamily="34" charset="-122"/>
              </a:rPr>
              <a:t>项目管理是对工作的</a:t>
            </a:r>
            <a:r>
              <a:rPr lang="zh-CN" altLang="en-US" i="1" u="sng">
                <a:solidFill>
                  <a:srgbClr val="C00000"/>
                </a:solidFill>
                <a:sym typeface="微软雅黑" pitchFamily="34" charset="-122"/>
              </a:rPr>
              <a:t>一种严谨的思维方式</a:t>
            </a:r>
            <a:r>
              <a:rPr lang="zh-CN" altLang="en-US">
                <a:sym typeface="微软雅黑" pitchFamily="34" charset="-122"/>
              </a:rPr>
              <a:t>，适用于所有项目，不同行业，无论其内容、规模或复杂性如何。</a:t>
            </a:r>
            <a:endParaRPr lang="zh-CN" altLang="en-US"/>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2"/>
          <p:cNvSpPr>
            <a:spLocks noGrp="1" noChangeArrowheads="1"/>
          </p:cNvSpPr>
          <p:nvPr>
            <p:ph type="title"/>
          </p:nvPr>
        </p:nvSpPr>
        <p:spPr>
          <a:xfrm>
            <a:off x="47625" y="1033463"/>
            <a:ext cx="9055100" cy="484187"/>
          </a:xfrm>
        </p:spPr>
        <p:txBody>
          <a:bodyPr/>
          <a:lstStyle/>
          <a:p>
            <a:pPr algn="ctr" eaLnBrk="1" hangingPunct="1"/>
            <a:r>
              <a:rPr lang="zh-CN" altLang="en-US" sz="3600" smtClean="0">
                <a:solidFill>
                  <a:srgbClr val="C00000"/>
                </a:solidFill>
                <a:latin typeface="微软雅黑" pitchFamily="34" charset="-122"/>
              </a:rPr>
              <a:t>软考</a:t>
            </a:r>
            <a:r>
              <a:rPr sz="3600" smtClean="0">
                <a:solidFill>
                  <a:srgbClr val="C00000"/>
                </a:solidFill>
                <a:latin typeface="微软雅黑" pitchFamily="34" charset="-122"/>
              </a:rPr>
              <a:t>的五大过程组、十大知识管理域</a:t>
            </a:r>
          </a:p>
        </p:txBody>
      </p:sp>
      <p:sp>
        <p:nvSpPr>
          <p:cNvPr id="17411" name="Rectangle 3"/>
          <p:cNvSpPr>
            <a:spLocks noGrp="1" noChangeArrowheads="1"/>
          </p:cNvSpPr>
          <p:nvPr>
            <p:ph idx="1"/>
          </p:nvPr>
        </p:nvSpPr>
        <p:spPr>
          <a:xfrm>
            <a:off x="438150" y="1693863"/>
            <a:ext cx="8269288" cy="4298950"/>
          </a:xfrm>
        </p:spPr>
        <p:txBody>
          <a:bodyPr rtlCol="0">
            <a:normAutofit/>
          </a:bodyPr>
          <a:lstStyle/>
          <a:p>
            <a:pPr lvl="1" eaLnBrk="1" fontAlgn="auto" hangingPunct="1">
              <a:lnSpc>
                <a:spcPct val="150000"/>
              </a:lnSpc>
              <a:spcAft>
                <a:spcPts val="0"/>
              </a:spcAft>
              <a:defRPr/>
            </a:pPr>
            <a:r>
              <a:rPr lang="zh-CN" altLang="en-US" smtClean="0">
                <a:latin typeface="+mn-ea"/>
              </a:rPr>
              <a:t>五</a:t>
            </a:r>
            <a:r>
              <a:rPr lang="zh-CN" altLang="en-US" dirty="0">
                <a:latin typeface="+mn-ea"/>
              </a:rPr>
              <a:t>大管理过程组</a:t>
            </a:r>
          </a:p>
          <a:p>
            <a:pPr lvl="2" eaLnBrk="1" fontAlgn="auto" hangingPunct="1">
              <a:lnSpc>
                <a:spcPct val="150000"/>
              </a:lnSpc>
              <a:spcBef>
                <a:spcPts val="0"/>
              </a:spcBef>
              <a:spcAft>
                <a:spcPts val="0"/>
              </a:spcAft>
              <a:buClr>
                <a:srgbClr val="C00000"/>
              </a:buClr>
              <a:buFont typeface="Wingdings" panose="05000000000000000000" charset="0"/>
              <a:buChar char="X"/>
              <a:defRPr/>
            </a:pPr>
            <a:r>
              <a:rPr lang="zh-CN" altLang="en-US" sz="2100" b="1" dirty="0">
                <a:latin typeface="+mn-ea"/>
              </a:rPr>
              <a:t>启动</a:t>
            </a:r>
          </a:p>
          <a:p>
            <a:pPr lvl="2" eaLnBrk="1" fontAlgn="auto" hangingPunct="1">
              <a:lnSpc>
                <a:spcPct val="150000"/>
              </a:lnSpc>
              <a:spcBef>
                <a:spcPts val="0"/>
              </a:spcBef>
              <a:spcAft>
                <a:spcPts val="0"/>
              </a:spcAft>
              <a:buClr>
                <a:srgbClr val="C00000"/>
              </a:buClr>
              <a:buFont typeface="Wingdings" panose="05000000000000000000" charset="0"/>
              <a:buChar char="X"/>
              <a:defRPr/>
            </a:pPr>
            <a:r>
              <a:rPr lang="zh-CN" altLang="en-US" sz="2100" b="1" dirty="0">
                <a:latin typeface="+mn-ea"/>
              </a:rPr>
              <a:t>计划</a:t>
            </a:r>
            <a:r>
              <a:rPr lang="en-US" altLang="zh-CN" sz="2100" b="1" dirty="0">
                <a:latin typeface="+mn-ea"/>
              </a:rPr>
              <a:t>(</a:t>
            </a:r>
            <a:r>
              <a:rPr lang="zh-CN" altLang="en-US" sz="2100" b="1" dirty="0">
                <a:latin typeface="+mn-ea"/>
              </a:rPr>
              <a:t>规划</a:t>
            </a:r>
            <a:r>
              <a:rPr lang="en-US" altLang="zh-CN" sz="2100" b="1" dirty="0">
                <a:latin typeface="+mn-ea"/>
              </a:rPr>
              <a:t>)</a:t>
            </a:r>
            <a:endParaRPr lang="zh-CN" altLang="en-US" sz="2100" b="1" dirty="0">
              <a:latin typeface="+mn-ea"/>
            </a:endParaRPr>
          </a:p>
          <a:p>
            <a:pPr lvl="2" eaLnBrk="1" fontAlgn="auto" hangingPunct="1">
              <a:lnSpc>
                <a:spcPct val="150000"/>
              </a:lnSpc>
              <a:spcBef>
                <a:spcPts val="0"/>
              </a:spcBef>
              <a:spcAft>
                <a:spcPts val="0"/>
              </a:spcAft>
              <a:buClr>
                <a:srgbClr val="C00000"/>
              </a:buClr>
              <a:buFont typeface="Wingdings" panose="05000000000000000000" charset="0"/>
              <a:buChar char="X"/>
              <a:defRPr/>
            </a:pPr>
            <a:r>
              <a:rPr lang="zh-CN" altLang="en-US" sz="2100" b="1" dirty="0">
                <a:latin typeface="+mn-ea"/>
              </a:rPr>
              <a:t>执行</a:t>
            </a:r>
          </a:p>
          <a:p>
            <a:pPr lvl="2" eaLnBrk="1" fontAlgn="auto" hangingPunct="1">
              <a:lnSpc>
                <a:spcPct val="150000"/>
              </a:lnSpc>
              <a:spcBef>
                <a:spcPts val="0"/>
              </a:spcBef>
              <a:spcAft>
                <a:spcPts val="0"/>
              </a:spcAft>
              <a:buClr>
                <a:srgbClr val="C00000"/>
              </a:buClr>
              <a:buFont typeface="Wingdings" panose="05000000000000000000" charset="0"/>
              <a:buChar char="X"/>
              <a:defRPr/>
            </a:pPr>
            <a:r>
              <a:rPr lang="zh-CN" altLang="en-US" sz="2100" b="1" dirty="0">
                <a:latin typeface="+mn-ea"/>
              </a:rPr>
              <a:t>监控</a:t>
            </a:r>
          </a:p>
          <a:p>
            <a:pPr lvl="2" eaLnBrk="1" fontAlgn="auto" hangingPunct="1">
              <a:lnSpc>
                <a:spcPct val="150000"/>
              </a:lnSpc>
              <a:spcBef>
                <a:spcPts val="0"/>
              </a:spcBef>
              <a:spcAft>
                <a:spcPts val="0"/>
              </a:spcAft>
              <a:buClr>
                <a:srgbClr val="C00000"/>
              </a:buClr>
              <a:buFont typeface="Wingdings" panose="05000000000000000000" charset="0"/>
              <a:buChar char="X"/>
              <a:defRPr/>
            </a:pPr>
            <a:r>
              <a:rPr lang="zh-CN" altLang="en-US" sz="2100" b="1" dirty="0">
                <a:latin typeface="+mn-ea"/>
              </a:rPr>
              <a:t>收尾</a:t>
            </a:r>
          </a:p>
          <a:p>
            <a:pPr lvl="1" eaLnBrk="1" fontAlgn="auto" hangingPunct="1">
              <a:lnSpc>
                <a:spcPct val="150000"/>
              </a:lnSpc>
              <a:spcAft>
                <a:spcPts val="0"/>
              </a:spcAft>
              <a:defRPr/>
            </a:pPr>
            <a:r>
              <a:rPr lang="zh-CN" altLang="en-US" dirty="0">
                <a:latin typeface="+mn-ea"/>
              </a:rPr>
              <a:t>十大知识领域</a:t>
            </a:r>
          </a:p>
        </p:txBody>
      </p:sp>
      <p:grpSp>
        <p:nvGrpSpPr>
          <p:cNvPr id="22531" name="Group 16"/>
          <p:cNvGrpSpPr>
            <a:grpSpLocks/>
          </p:cNvGrpSpPr>
          <p:nvPr/>
        </p:nvGrpSpPr>
        <p:grpSpPr bwMode="auto">
          <a:xfrm>
            <a:off x="2543175" y="3182938"/>
            <a:ext cx="6629400" cy="2589212"/>
            <a:chOff x="384" y="831"/>
            <a:chExt cx="4848" cy="2040"/>
          </a:xfrm>
        </p:grpSpPr>
        <p:sp>
          <p:nvSpPr>
            <p:cNvPr id="22532" name="AutoShape 4"/>
            <p:cNvSpPr>
              <a:spLocks noChangeArrowheads="1"/>
            </p:cNvSpPr>
            <p:nvPr/>
          </p:nvSpPr>
          <p:spPr bwMode="auto">
            <a:xfrm>
              <a:off x="864" y="831"/>
              <a:ext cx="3696" cy="2040"/>
            </a:xfrm>
            <a:prstGeom prst="roundRect">
              <a:avLst>
                <a:gd name="adj" fmla="val 16667"/>
              </a:avLst>
            </a:pr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endParaRPr lang="zh-CN" altLang="zh-CN" sz="1900" b="1">
                <a:solidFill>
                  <a:srgbClr val="FF6600"/>
                </a:solidFill>
                <a:latin typeface="微软雅黑" pitchFamily="34" charset="-122"/>
              </a:endParaRPr>
            </a:p>
          </p:txBody>
        </p:sp>
        <p:sp>
          <p:nvSpPr>
            <p:cNvPr id="22533" name="AutoShape 5"/>
            <p:cNvSpPr>
              <a:spLocks noChangeArrowheads="1"/>
            </p:cNvSpPr>
            <p:nvPr/>
          </p:nvSpPr>
          <p:spPr bwMode="auto">
            <a:xfrm>
              <a:off x="384" y="1277"/>
              <a:ext cx="1104" cy="816"/>
            </a:xfrm>
            <a:prstGeom prst="rightArrow">
              <a:avLst>
                <a:gd name="adj1" fmla="val 50000"/>
                <a:gd name="adj2" fmla="val 33667"/>
              </a:avLst>
            </a:prstGeom>
            <a:solidFill>
              <a:schemeClr val="accent2"/>
            </a:solidFill>
            <a:ln>
              <a:noFill/>
            </a:ln>
            <a:effectLst>
              <a:outerShdw dist="107763" dir="2700000" algn="ctr" rotWithShape="0">
                <a:schemeClr val="bg2">
                  <a:alpha val="50000"/>
                </a:schemeClr>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zh-CN" altLang="en-US" sz="1900" b="1">
                  <a:solidFill>
                    <a:schemeClr val="bg1"/>
                  </a:solidFill>
                  <a:latin typeface="微软雅黑" pitchFamily="34" charset="-122"/>
                </a:rPr>
                <a:t>项目启动</a:t>
              </a:r>
            </a:p>
          </p:txBody>
        </p:sp>
        <p:sp>
          <p:nvSpPr>
            <p:cNvPr id="22534" name="AutoShape 8"/>
            <p:cNvSpPr>
              <a:spLocks noChangeArrowheads="1"/>
            </p:cNvSpPr>
            <p:nvPr/>
          </p:nvSpPr>
          <p:spPr bwMode="auto">
            <a:xfrm>
              <a:off x="1488" y="1728"/>
              <a:ext cx="768" cy="432"/>
            </a:xfrm>
            <a:prstGeom prst="homePlate">
              <a:avLst>
                <a:gd name="adj" fmla="val 46321"/>
              </a:avLst>
            </a:prstGeom>
            <a:solidFill>
              <a:srgbClr val="3366FF"/>
            </a:solidFill>
            <a:ln>
              <a:noFill/>
            </a:ln>
            <a:effectLst>
              <a:outerShdw dist="107763" dir="2700000" algn="ctr" rotWithShape="0">
                <a:schemeClr val="bg2">
                  <a:alpha val="50000"/>
                </a:schemeClr>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endParaRPr lang="zh-CN" altLang="zh-CN" sz="1900" b="1">
                <a:solidFill>
                  <a:schemeClr val="bg1"/>
                </a:solidFill>
                <a:latin typeface="微软雅黑" pitchFamily="34" charset="-122"/>
              </a:endParaRPr>
            </a:p>
          </p:txBody>
        </p:sp>
        <p:sp>
          <p:nvSpPr>
            <p:cNvPr id="8" name="AutoShape 6"/>
            <p:cNvSpPr>
              <a:spLocks noChangeArrowheads="1"/>
            </p:cNvSpPr>
            <p:nvPr/>
          </p:nvSpPr>
          <p:spPr bwMode="auto">
            <a:xfrm rot="16200000">
              <a:off x="1992" y="1464"/>
              <a:ext cx="1008" cy="960"/>
            </a:xfrm>
            <a:custGeom>
              <a:avLst/>
              <a:gdLst>
                <a:gd name="G0" fmla="+- 0 0 0"/>
                <a:gd name="G1" fmla="+- -11796480 0 0"/>
                <a:gd name="G2" fmla="+- 0 0 -11796480"/>
                <a:gd name="G3" fmla="+- 10800 0 0"/>
                <a:gd name="G4" fmla="+- 0 0 0"/>
                <a:gd name="T0" fmla="*/ 360 256 1"/>
                <a:gd name="T1" fmla="*/ 0 256 1"/>
                <a:gd name="G5" fmla="+- G2 T0 T1"/>
                <a:gd name="G6" fmla="?: G2 G2 G5"/>
                <a:gd name="G7" fmla="+- 0 0 G6"/>
                <a:gd name="G8" fmla="+- 5400 0 0"/>
                <a:gd name="G9" fmla="+- 0 0 -11796480"/>
                <a:gd name="G10" fmla="+- 5400 0 2700"/>
                <a:gd name="G11" fmla="cos G10 0"/>
                <a:gd name="G12" fmla="sin G10 0"/>
                <a:gd name="G13" fmla="cos 13500 0"/>
                <a:gd name="G14" fmla="sin 13500 0"/>
                <a:gd name="G15" fmla="+- G11 10800 0"/>
                <a:gd name="G16" fmla="+- G12 10800 0"/>
                <a:gd name="G17" fmla="+- G13 10800 0"/>
                <a:gd name="G18" fmla="+- G14 10800 0"/>
                <a:gd name="G19" fmla="*/ 5400 1 2"/>
                <a:gd name="G20" fmla="+- G19 5400 0"/>
                <a:gd name="G21" fmla="cos G20 0"/>
                <a:gd name="G22" fmla="sin G20 0"/>
                <a:gd name="G23" fmla="+- G21 10800 0"/>
                <a:gd name="G24" fmla="+- G12 G23 G22"/>
                <a:gd name="G25" fmla="+- G22 G23 G11"/>
                <a:gd name="G26" fmla="cos 10800 0"/>
                <a:gd name="G27" fmla="sin 10800 0"/>
                <a:gd name="G28" fmla="cos 5400 0"/>
                <a:gd name="G29" fmla="sin 5400 0"/>
                <a:gd name="G30" fmla="+- G26 10800 0"/>
                <a:gd name="G31" fmla="+- G27 10800 0"/>
                <a:gd name="G32" fmla="+- G28 10800 0"/>
                <a:gd name="G33" fmla="+- G29 10800 0"/>
                <a:gd name="G34" fmla="+- G19 5400 0"/>
                <a:gd name="G35" fmla="cos G34 -11796480"/>
                <a:gd name="G36" fmla="sin G34 -11796480"/>
                <a:gd name="G37" fmla="+/ -11796480 0 2"/>
                <a:gd name="T2" fmla="*/ 180 256 1"/>
                <a:gd name="T3" fmla="*/ 0 256 1"/>
                <a:gd name="G38" fmla="+- G37 T2 T3"/>
                <a:gd name="G39" fmla="?: G2 G37 G38"/>
                <a:gd name="G40" fmla="cos 10800 G39"/>
                <a:gd name="G41" fmla="sin 10800 G39"/>
                <a:gd name="G42" fmla="cos 5400 G39"/>
                <a:gd name="G43" fmla="sin 5400 G39"/>
                <a:gd name="G44" fmla="+- G40 10800 0"/>
                <a:gd name="G45" fmla="+- G41 10800 0"/>
                <a:gd name="G46" fmla="+- G42 10800 0"/>
                <a:gd name="G47" fmla="+- G43 10800 0"/>
                <a:gd name="G48" fmla="+- G35 10800 0"/>
                <a:gd name="G49" fmla="+- G36 10800 0"/>
                <a:gd name="T4" fmla="*/ 10799 w 21600"/>
                <a:gd name="T5" fmla="*/ 0 h 21600"/>
                <a:gd name="T6" fmla="*/ 2700 w 21600"/>
                <a:gd name="T7" fmla="*/ 10800 h 21600"/>
                <a:gd name="T8" fmla="*/ 10799 w 21600"/>
                <a:gd name="T9" fmla="*/ 5400 h 21600"/>
                <a:gd name="T10" fmla="*/ 24300 w 21600"/>
                <a:gd name="T11" fmla="*/ 10800 h 21600"/>
                <a:gd name="T12" fmla="*/ 18900 w 21600"/>
                <a:gd name="T13" fmla="*/ 16200 h 21600"/>
                <a:gd name="T14" fmla="*/ 13500 w 21600"/>
                <a:gd name="T15" fmla="*/ 10800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accent4"/>
            </a:solidFill>
            <a:ln w="9525" algn="ctr">
              <a:noFill/>
              <a:miter lim="800000"/>
            </a:ln>
            <a:effectLst>
              <a:outerShdw dist="107763" dir="2700000" algn="ctr" rotWithShape="0">
                <a:schemeClr val="bg2">
                  <a:alpha val="50000"/>
                </a:schemeClr>
              </a:outerShdw>
            </a:effectLst>
          </p:spPr>
          <p:txBody>
            <a:bodyPr wrap="none" anchor="ctr"/>
            <a:lstStyle/>
            <a:p>
              <a:pPr fontAlgn="auto">
                <a:spcBef>
                  <a:spcPts val="0"/>
                </a:spcBef>
                <a:spcAft>
                  <a:spcPts val="0"/>
                </a:spcAft>
                <a:buFontTx/>
                <a:buNone/>
                <a:defRPr/>
              </a:pPr>
              <a:endParaRPr lang="zh-CN" altLang="en-US" sz="1900" b="1">
                <a:latin typeface="微软雅黑" panose="020B0503020204020204" pitchFamily="34" charset="-122"/>
              </a:endParaRPr>
            </a:p>
          </p:txBody>
        </p:sp>
        <p:sp>
          <p:nvSpPr>
            <p:cNvPr id="9" name="AutoShape 9"/>
            <p:cNvSpPr>
              <a:spLocks noChangeArrowheads="1"/>
            </p:cNvSpPr>
            <p:nvPr/>
          </p:nvSpPr>
          <p:spPr bwMode="auto">
            <a:xfrm rot="5400000">
              <a:off x="2281" y="1416"/>
              <a:ext cx="1007" cy="960"/>
            </a:xfrm>
            <a:custGeom>
              <a:avLst/>
              <a:gdLst>
                <a:gd name="G0" fmla="+- 0 0 0"/>
                <a:gd name="G1" fmla="+- -11796480 0 0"/>
                <a:gd name="G2" fmla="+- 0 0 -11796480"/>
                <a:gd name="G3" fmla="+- 10800 0 0"/>
                <a:gd name="G4" fmla="+- 0 0 0"/>
                <a:gd name="T0" fmla="*/ 360 256 1"/>
                <a:gd name="T1" fmla="*/ 0 256 1"/>
                <a:gd name="G5" fmla="+- G2 T0 T1"/>
                <a:gd name="G6" fmla="?: G2 G2 G5"/>
                <a:gd name="G7" fmla="+- 0 0 G6"/>
                <a:gd name="G8" fmla="+- 5400 0 0"/>
                <a:gd name="G9" fmla="+- 0 0 -11796480"/>
                <a:gd name="G10" fmla="+- 5400 0 2700"/>
                <a:gd name="G11" fmla="cos G10 0"/>
                <a:gd name="G12" fmla="sin G10 0"/>
                <a:gd name="G13" fmla="cos 13500 0"/>
                <a:gd name="G14" fmla="sin 13500 0"/>
                <a:gd name="G15" fmla="+- G11 10800 0"/>
                <a:gd name="G16" fmla="+- G12 10800 0"/>
                <a:gd name="G17" fmla="+- G13 10800 0"/>
                <a:gd name="G18" fmla="+- G14 10800 0"/>
                <a:gd name="G19" fmla="*/ 5400 1 2"/>
                <a:gd name="G20" fmla="+- G19 5400 0"/>
                <a:gd name="G21" fmla="cos G20 0"/>
                <a:gd name="G22" fmla="sin G20 0"/>
                <a:gd name="G23" fmla="+- G21 10800 0"/>
                <a:gd name="G24" fmla="+- G12 G23 G22"/>
                <a:gd name="G25" fmla="+- G22 G23 G11"/>
                <a:gd name="G26" fmla="cos 10800 0"/>
                <a:gd name="G27" fmla="sin 10800 0"/>
                <a:gd name="G28" fmla="cos 5400 0"/>
                <a:gd name="G29" fmla="sin 5400 0"/>
                <a:gd name="G30" fmla="+- G26 10800 0"/>
                <a:gd name="G31" fmla="+- G27 10800 0"/>
                <a:gd name="G32" fmla="+- G28 10800 0"/>
                <a:gd name="G33" fmla="+- G29 10800 0"/>
                <a:gd name="G34" fmla="+- G19 5400 0"/>
                <a:gd name="G35" fmla="cos G34 -11796480"/>
                <a:gd name="G36" fmla="sin G34 -11796480"/>
                <a:gd name="G37" fmla="+/ -11796480 0 2"/>
                <a:gd name="T2" fmla="*/ 180 256 1"/>
                <a:gd name="T3" fmla="*/ 0 256 1"/>
                <a:gd name="G38" fmla="+- G37 T2 T3"/>
                <a:gd name="G39" fmla="?: G2 G37 G38"/>
                <a:gd name="G40" fmla="cos 10800 G39"/>
                <a:gd name="G41" fmla="sin 10800 G39"/>
                <a:gd name="G42" fmla="cos 5400 G39"/>
                <a:gd name="G43" fmla="sin 5400 G39"/>
                <a:gd name="G44" fmla="+- G40 10800 0"/>
                <a:gd name="G45" fmla="+- G41 10800 0"/>
                <a:gd name="G46" fmla="+- G42 10800 0"/>
                <a:gd name="G47" fmla="+- G43 10800 0"/>
                <a:gd name="G48" fmla="+- G35 10800 0"/>
                <a:gd name="G49" fmla="+- G36 10800 0"/>
                <a:gd name="T4" fmla="*/ 10799 w 21600"/>
                <a:gd name="T5" fmla="*/ 0 h 21600"/>
                <a:gd name="T6" fmla="*/ 2700 w 21600"/>
                <a:gd name="T7" fmla="*/ 10800 h 21600"/>
                <a:gd name="T8" fmla="*/ 10799 w 21600"/>
                <a:gd name="T9" fmla="*/ 5400 h 21600"/>
                <a:gd name="T10" fmla="*/ 24300 w 21600"/>
                <a:gd name="T11" fmla="*/ 10800 h 21600"/>
                <a:gd name="T12" fmla="*/ 18900 w 21600"/>
                <a:gd name="T13" fmla="*/ 16200 h 21600"/>
                <a:gd name="T14" fmla="*/ 13500 w 21600"/>
                <a:gd name="T15" fmla="*/ 10800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accent4"/>
            </a:solidFill>
            <a:ln w="9525" algn="ctr">
              <a:noFill/>
              <a:miter lim="800000"/>
            </a:ln>
            <a:effectLst>
              <a:outerShdw dist="107763" dir="2700000" algn="ctr" rotWithShape="0">
                <a:schemeClr val="bg2">
                  <a:alpha val="50000"/>
                </a:schemeClr>
              </a:outerShdw>
            </a:effectLst>
          </p:spPr>
          <p:txBody>
            <a:bodyPr wrap="none" anchor="ctr"/>
            <a:lstStyle/>
            <a:p>
              <a:pPr fontAlgn="auto">
                <a:spcBef>
                  <a:spcPts val="0"/>
                </a:spcBef>
                <a:spcAft>
                  <a:spcPts val="0"/>
                </a:spcAft>
                <a:buFontTx/>
                <a:buNone/>
                <a:defRPr/>
              </a:pPr>
              <a:endParaRPr lang="zh-CN" altLang="en-US" sz="1900" b="1">
                <a:latin typeface="微软雅黑" panose="020B0503020204020204" pitchFamily="34" charset="-122"/>
              </a:endParaRPr>
            </a:p>
          </p:txBody>
        </p:sp>
        <p:sp>
          <p:nvSpPr>
            <p:cNvPr id="22537" name="AutoShape 11"/>
            <p:cNvSpPr>
              <a:spLocks noChangeArrowheads="1"/>
            </p:cNvSpPr>
            <p:nvPr/>
          </p:nvSpPr>
          <p:spPr bwMode="auto">
            <a:xfrm>
              <a:off x="3072" y="1536"/>
              <a:ext cx="960" cy="816"/>
            </a:xfrm>
            <a:prstGeom prst="rightArrow">
              <a:avLst>
                <a:gd name="adj1" fmla="val 50000"/>
                <a:gd name="adj2" fmla="val 29276"/>
              </a:avLst>
            </a:prstGeom>
            <a:solidFill>
              <a:srgbClr val="3366FF"/>
            </a:solidFill>
            <a:ln>
              <a:noFill/>
            </a:ln>
            <a:effectLst>
              <a:outerShdw dist="107763" dir="2700000" algn="ctr" rotWithShape="0">
                <a:schemeClr val="bg2">
                  <a:alpha val="50000"/>
                </a:schemeClr>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zh-CN" altLang="en-US" sz="1900" b="1">
                  <a:solidFill>
                    <a:schemeClr val="bg1"/>
                  </a:solidFill>
                  <a:latin typeface="微软雅黑" pitchFamily="34" charset="-122"/>
                </a:rPr>
                <a:t>项目执行</a:t>
              </a:r>
            </a:p>
          </p:txBody>
        </p:sp>
        <p:sp>
          <p:nvSpPr>
            <p:cNvPr id="22538" name="AutoShape 12"/>
            <p:cNvSpPr>
              <a:spLocks noChangeArrowheads="1"/>
            </p:cNvSpPr>
            <p:nvPr/>
          </p:nvSpPr>
          <p:spPr bwMode="auto">
            <a:xfrm>
              <a:off x="4128" y="1865"/>
              <a:ext cx="1104" cy="816"/>
            </a:xfrm>
            <a:prstGeom prst="rightArrow">
              <a:avLst>
                <a:gd name="adj1" fmla="val 50000"/>
                <a:gd name="adj2" fmla="val 33667"/>
              </a:avLst>
            </a:prstGeom>
            <a:solidFill>
              <a:schemeClr val="accent2"/>
            </a:solidFill>
            <a:ln>
              <a:noFill/>
            </a:ln>
            <a:effectLst>
              <a:outerShdw dist="107763" dir="2700000" algn="ctr" rotWithShape="0">
                <a:schemeClr val="bg2">
                  <a:alpha val="50000"/>
                </a:schemeClr>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r>
                <a:rPr lang="zh-CN" altLang="en-US" sz="1900" b="1">
                  <a:solidFill>
                    <a:schemeClr val="bg1"/>
                  </a:solidFill>
                  <a:latin typeface="微软雅黑" pitchFamily="34" charset="-122"/>
                </a:rPr>
                <a:t>项目收尾</a:t>
              </a:r>
            </a:p>
          </p:txBody>
        </p:sp>
        <p:sp>
          <p:nvSpPr>
            <p:cNvPr id="22539" name="Text Box 13"/>
            <p:cNvSpPr txBox="1">
              <a:spLocks noChangeArrowheads="1"/>
            </p:cNvSpPr>
            <p:nvPr/>
          </p:nvSpPr>
          <p:spPr bwMode="auto">
            <a:xfrm>
              <a:off x="2064" y="960"/>
              <a:ext cx="1296" cy="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gn="ctr">
                <a:spcBef>
                  <a:spcPct val="50000"/>
                </a:spcBef>
              </a:pPr>
              <a:r>
                <a:rPr lang="zh-CN" altLang="en-US" sz="1900" b="1">
                  <a:solidFill>
                    <a:srgbClr val="C00000"/>
                  </a:solidFill>
                  <a:latin typeface="微软雅黑" pitchFamily="34" charset="-122"/>
                </a:rPr>
                <a:t>项目监控</a:t>
              </a:r>
            </a:p>
          </p:txBody>
        </p:sp>
        <p:sp>
          <p:nvSpPr>
            <p:cNvPr id="22540" name="Text Box 14"/>
            <p:cNvSpPr txBox="1">
              <a:spLocks noChangeArrowheads="1"/>
            </p:cNvSpPr>
            <p:nvPr/>
          </p:nvSpPr>
          <p:spPr bwMode="auto">
            <a:xfrm>
              <a:off x="1473" y="1819"/>
              <a:ext cx="927" cy="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spcBef>
                  <a:spcPct val="50000"/>
                </a:spcBef>
              </a:pPr>
              <a:r>
                <a:rPr lang="zh-CN" altLang="en-US" sz="1900" b="1">
                  <a:solidFill>
                    <a:schemeClr val="bg1"/>
                  </a:solidFill>
                  <a:latin typeface="微软雅黑" pitchFamily="34" charset="-122"/>
                </a:rPr>
                <a:t>项目规划</a:t>
              </a: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文本框 3"/>
          <p:cNvSpPr txBox="1">
            <a:spLocks noChangeArrowheads="1"/>
          </p:cNvSpPr>
          <p:nvPr/>
        </p:nvSpPr>
        <p:spPr bwMode="auto">
          <a:xfrm>
            <a:off x="635000" y="1257300"/>
            <a:ext cx="8066088" cy="297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w Cen MT" pitchFamily="34" charset="0"/>
                <a:ea typeface="微软雅黑" pitchFamily="34" charset="-122"/>
              </a:defRPr>
            </a:lvl1pPr>
            <a:lvl2pPr>
              <a:defRPr>
                <a:solidFill>
                  <a:schemeClr val="tx1"/>
                </a:solidFill>
                <a:latin typeface="Tw Cen MT" pitchFamily="34" charset="0"/>
                <a:ea typeface="微软雅黑" pitchFamily="34" charset="-122"/>
              </a:defRPr>
            </a:lvl2pPr>
            <a:lvl3pPr>
              <a:defRPr>
                <a:solidFill>
                  <a:schemeClr val="tx1"/>
                </a:solidFill>
                <a:latin typeface="Tw Cen MT" pitchFamily="34" charset="0"/>
                <a:ea typeface="微软雅黑" pitchFamily="34" charset="-122"/>
              </a:defRPr>
            </a:lvl3pPr>
            <a:lvl4pPr>
              <a:defRPr>
                <a:solidFill>
                  <a:schemeClr val="tx1"/>
                </a:solidFill>
                <a:latin typeface="Tw Cen MT" pitchFamily="34" charset="0"/>
                <a:ea typeface="微软雅黑" pitchFamily="34" charset="-122"/>
              </a:defRPr>
            </a:lvl4pPr>
            <a:lvl5pPr>
              <a:defRPr>
                <a:solidFill>
                  <a:schemeClr val="tx1"/>
                </a:solidFill>
                <a:latin typeface="Tw Cen MT" pitchFamily="34" charset="0"/>
                <a:ea typeface="微软雅黑" pitchFamily="34" charset="-122"/>
              </a:defRPr>
            </a:lvl5pPr>
            <a:lvl6pPr fontAlgn="base">
              <a:spcBef>
                <a:spcPct val="0"/>
              </a:spcBef>
              <a:spcAft>
                <a:spcPct val="0"/>
              </a:spcAft>
              <a:buFont typeface="Arial" pitchFamily="34" charset="0"/>
              <a:defRPr>
                <a:solidFill>
                  <a:schemeClr val="tx1"/>
                </a:solidFill>
                <a:latin typeface="Tw Cen MT" pitchFamily="34" charset="0"/>
                <a:ea typeface="微软雅黑" pitchFamily="34" charset="-122"/>
              </a:defRPr>
            </a:lvl6pPr>
            <a:lvl7pPr fontAlgn="base">
              <a:spcBef>
                <a:spcPct val="0"/>
              </a:spcBef>
              <a:spcAft>
                <a:spcPct val="0"/>
              </a:spcAft>
              <a:buFont typeface="Arial" pitchFamily="34" charset="0"/>
              <a:defRPr>
                <a:solidFill>
                  <a:schemeClr val="tx1"/>
                </a:solidFill>
                <a:latin typeface="Tw Cen MT" pitchFamily="34" charset="0"/>
                <a:ea typeface="微软雅黑" pitchFamily="34" charset="-122"/>
              </a:defRPr>
            </a:lvl7pPr>
            <a:lvl8pPr fontAlgn="base">
              <a:spcBef>
                <a:spcPct val="0"/>
              </a:spcBef>
              <a:spcAft>
                <a:spcPct val="0"/>
              </a:spcAft>
              <a:buFont typeface="Arial" pitchFamily="34" charset="0"/>
              <a:defRPr>
                <a:solidFill>
                  <a:schemeClr val="tx1"/>
                </a:solidFill>
                <a:latin typeface="Tw Cen MT" pitchFamily="34" charset="0"/>
                <a:ea typeface="微软雅黑" pitchFamily="34" charset="-122"/>
              </a:defRPr>
            </a:lvl8pPr>
            <a:lvl9pPr fontAlgn="base">
              <a:spcBef>
                <a:spcPct val="0"/>
              </a:spcBef>
              <a:spcAft>
                <a:spcPct val="0"/>
              </a:spcAft>
              <a:buFont typeface="Arial" pitchFamily="34" charset="0"/>
              <a:defRPr>
                <a:solidFill>
                  <a:schemeClr val="tx1"/>
                </a:solidFill>
                <a:latin typeface="Tw Cen MT" pitchFamily="34" charset="0"/>
                <a:ea typeface="微软雅黑" pitchFamily="34" charset="-122"/>
              </a:defRPr>
            </a:lvl9pPr>
          </a:lstStyle>
          <a:p>
            <a:pPr>
              <a:lnSpc>
                <a:spcPct val="130000"/>
              </a:lnSpc>
            </a:pPr>
            <a:r>
              <a:rPr lang="zh-CN" altLang="en-US" sz="2400" b="1">
                <a:solidFill>
                  <a:srgbClr val="C00000"/>
                </a:solidFill>
                <a:latin typeface="Georgia" pitchFamily="18" charset="0"/>
              </a:rPr>
              <a:t>五大过程组：</a:t>
            </a:r>
            <a:endParaRPr lang="zh-CN" altLang="en-US" sz="2000">
              <a:latin typeface="Georgia" pitchFamily="18" charset="0"/>
            </a:endParaRPr>
          </a:p>
          <a:p>
            <a:pPr>
              <a:lnSpc>
                <a:spcPct val="130000"/>
              </a:lnSpc>
            </a:pPr>
            <a:r>
              <a:rPr lang="zh-CN" altLang="en-US" sz="2000">
                <a:latin typeface="Georgia" pitchFamily="18" charset="0"/>
              </a:rPr>
              <a:t>（1）</a:t>
            </a:r>
            <a:r>
              <a:rPr lang="zh-CN" altLang="en-US" sz="2000" b="1">
                <a:solidFill>
                  <a:srgbClr val="002060"/>
                </a:solidFill>
                <a:latin typeface="Georgia" pitchFamily="18" charset="0"/>
              </a:rPr>
              <a:t>启动过程组</a:t>
            </a:r>
            <a:r>
              <a:rPr lang="zh-CN" altLang="en-US" sz="2000">
                <a:latin typeface="Georgia" pitchFamily="18" charset="0"/>
              </a:rPr>
              <a:t>：作用是设定项目目标和授权，让项目团队有事可做。</a:t>
            </a:r>
          </a:p>
          <a:p>
            <a:pPr>
              <a:lnSpc>
                <a:spcPct val="130000"/>
              </a:lnSpc>
            </a:pPr>
            <a:r>
              <a:rPr lang="zh-CN" altLang="en-US" sz="2000">
                <a:latin typeface="Georgia" pitchFamily="18" charset="0"/>
              </a:rPr>
              <a:t>（2）</a:t>
            </a:r>
            <a:r>
              <a:rPr lang="zh-CN" altLang="en-US" sz="2000" b="1">
                <a:solidFill>
                  <a:srgbClr val="002060"/>
                </a:solidFill>
                <a:latin typeface="Georgia" pitchFamily="18" charset="0"/>
              </a:rPr>
              <a:t>规划过程组</a:t>
            </a:r>
            <a:r>
              <a:rPr lang="zh-CN" altLang="en-US" sz="2000">
                <a:latin typeface="Georgia" pitchFamily="18" charset="0"/>
              </a:rPr>
              <a:t>：作用是制定工作路线，让项目团队“有法可依”。</a:t>
            </a:r>
          </a:p>
          <a:p>
            <a:pPr>
              <a:lnSpc>
                <a:spcPct val="130000"/>
              </a:lnSpc>
            </a:pPr>
            <a:r>
              <a:rPr lang="zh-CN" altLang="en-US" sz="2000">
                <a:latin typeface="Georgia" pitchFamily="18" charset="0"/>
              </a:rPr>
              <a:t>（3）</a:t>
            </a:r>
            <a:r>
              <a:rPr lang="zh-CN" altLang="en-US" sz="2000" b="1">
                <a:solidFill>
                  <a:srgbClr val="002060"/>
                </a:solidFill>
                <a:latin typeface="Georgia" pitchFamily="18" charset="0"/>
              </a:rPr>
              <a:t>执行过程组</a:t>
            </a:r>
            <a:r>
              <a:rPr lang="zh-CN" altLang="en-US" sz="2000">
                <a:latin typeface="Georgia" pitchFamily="18" charset="0"/>
              </a:rPr>
              <a:t>：作用是“按图索骥”，让项目团队“有法必依”。</a:t>
            </a:r>
          </a:p>
          <a:p>
            <a:pPr>
              <a:lnSpc>
                <a:spcPct val="130000"/>
              </a:lnSpc>
            </a:pPr>
            <a:r>
              <a:rPr lang="zh-CN" altLang="en-US" sz="2000">
                <a:latin typeface="Georgia" pitchFamily="18" charset="0"/>
              </a:rPr>
              <a:t>（4）</a:t>
            </a:r>
            <a:r>
              <a:rPr lang="zh-CN" altLang="en-US" sz="2000" b="1">
                <a:solidFill>
                  <a:srgbClr val="002060"/>
                </a:solidFill>
                <a:latin typeface="Georgia" pitchFamily="18" charset="0"/>
              </a:rPr>
              <a:t>监控过程组</a:t>
            </a:r>
            <a:r>
              <a:rPr lang="zh-CN" altLang="en-US" sz="2000">
                <a:latin typeface="Georgia" pitchFamily="18" charset="0"/>
              </a:rPr>
              <a:t>：作用是测量项目绩效，让项目团队“违法必究”，并且尽量做到“防患于未然”。</a:t>
            </a:r>
          </a:p>
          <a:p>
            <a:pPr>
              <a:lnSpc>
                <a:spcPct val="130000"/>
              </a:lnSpc>
            </a:pPr>
            <a:r>
              <a:rPr lang="zh-CN" altLang="en-US" sz="2000">
                <a:latin typeface="Georgia" pitchFamily="18" charset="0"/>
              </a:rPr>
              <a:t>（5）</a:t>
            </a:r>
            <a:r>
              <a:rPr lang="zh-CN" altLang="en-US" sz="2000" b="1">
                <a:solidFill>
                  <a:srgbClr val="002060"/>
                </a:solidFill>
                <a:latin typeface="Georgia" pitchFamily="18" charset="0"/>
              </a:rPr>
              <a:t>收尾过程组</a:t>
            </a:r>
            <a:r>
              <a:rPr lang="zh-CN" altLang="en-US" sz="2000">
                <a:latin typeface="Georgia" pitchFamily="18" charset="0"/>
              </a:rPr>
              <a:t>：作用是了结项目（或阶段）“恩怨”，让一切圆满。</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标题 1"/>
          <p:cNvSpPr>
            <a:spLocks noGrp="1" noChangeArrowheads="1"/>
          </p:cNvSpPr>
          <p:nvPr>
            <p:ph type="title"/>
          </p:nvPr>
        </p:nvSpPr>
        <p:spPr>
          <a:xfrm>
            <a:off x="838200" y="606425"/>
            <a:ext cx="4108450" cy="577850"/>
          </a:xfrm>
        </p:spPr>
        <p:txBody>
          <a:bodyPr/>
          <a:lstStyle/>
          <a:p>
            <a:r>
              <a:rPr sz="2400" smtClean="0">
                <a:solidFill>
                  <a:srgbClr val="00B050"/>
                </a:solidFill>
              </a:rPr>
              <a:t>十大知识领域：</a:t>
            </a:r>
          </a:p>
        </p:txBody>
      </p:sp>
      <p:sp>
        <p:nvSpPr>
          <p:cNvPr id="26626" name="内容占位符 2"/>
          <p:cNvSpPr>
            <a:spLocks noGrp="1" noChangeArrowheads="1"/>
          </p:cNvSpPr>
          <p:nvPr>
            <p:ph idx="1"/>
          </p:nvPr>
        </p:nvSpPr>
        <p:spPr>
          <a:xfrm>
            <a:off x="720725" y="1270000"/>
            <a:ext cx="8235950" cy="4148138"/>
          </a:xfrm>
        </p:spPr>
        <p:txBody>
          <a:bodyPr/>
          <a:lstStyle/>
          <a:p>
            <a:r>
              <a:rPr lang="zh-CN" altLang="en-US" sz="1800" smtClean="0">
                <a:latin typeface="Georgia" pitchFamily="18" charset="0"/>
              </a:rPr>
              <a:t>（1）</a:t>
            </a:r>
            <a:r>
              <a:rPr lang="zh-CN" altLang="en-US" sz="1800" b="1" smtClean="0">
                <a:solidFill>
                  <a:srgbClr val="0000FF"/>
                </a:solidFill>
                <a:latin typeface="Georgia" pitchFamily="18" charset="0"/>
              </a:rPr>
              <a:t>项目整合管理</a:t>
            </a:r>
            <a:r>
              <a:rPr lang="zh-CN" altLang="en-US" sz="1800" smtClean="0">
                <a:latin typeface="Georgia" pitchFamily="18" charset="0"/>
              </a:rPr>
              <a:t>：其作用犹如项链中的那根线。</a:t>
            </a:r>
          </a:p>
          <a:p>
            <a:r>
              <a:rPr lang="zh-CN" altLang="en-US" sz="1800" smtClean="0">
                <a:latin typeface="Georgia" pitchFamily="18" charset="0"/>
              </a:rPr>
              <a:t>（2）</a:t>
            </a:r>
            <a:r>
              <a:rPr lang="zh-CN" altLang="en-US" sz="1800" b="1" smtClean="0">
                <a:solidFill>
                  <a:srgbClr val="0000FF"/>
                </a:solidFill>
                <a:latin typeface="Georgia" pitchFamily="18" charset="0"/>
              </a:rPr>
              <a:t>项目范围管理</a:t>
            </a:r>
            <a:r>
              <a:rPr lang="zh-CN" altLang="en-US" sz="1800" smtClean="0">
                <a:latin typeface="Georgia" pitchFamily="18" charset="0"/>
              </a:rPr>
              <a:t>：做且只做该做的事。</a:t>
            </a:r>
          </a:p>
          <a:p>
            <a:r>
              <a:rPr lang="zh-CN" altLang="en-US" sz="1800" smtClean="0">
                <a:latin typeface="Georgia" pitchFamily="18" charset="0"/>
              </a:rPr>
              <a:t>（3）</a:t>
            </a:r>
            <a:r>
              <a:rPr lang="zh-CN" altLang="en-US" sz="1800" b="1" smtClean="0">
                <a:solidFill>
                  <a:srgbClr val="0000FF"/>
                </a:solidFill>
                <a:latin typeface="Georgia" pitchFamily="18" charset="0"/>
              </a:rPr>
              <a:t>项目进度管理</a:t>
            </a:r>
            <a:r>
              <a:rPr lang="zh-CN" altLang="en-US" sz="1800" smtClean="0">
                <a:latin typeface="Georgia" pitchFamily="18" charset="0"/>
              </a:rPr>
              <a:t>：让一切按既定的进度进行，按部就班，稳步推进。</a:t>
            </a:r>
          </a:p>
          <a:p>
            <a:r>
              <a:rPr lang="zh-CN" altLang="en-US" sz="1800" smtClean="0">
                <a:latin typeface="Georgia" pitchFamily="18" charset="0"/>
              </a:rPr>
              <a:t>（4）</a:t>
            </a:r>
            <a:r>
              <a:rPr lang="zh-CN" altLang="en-US" sz="1800" b="1" smtClean="0">
                <a:solidFill>
                  <a:srgbClr val="0000FF"/>
                </a:solidFill>
                <a:latin typeface="Georgia" pitchFamily="18" charset="0"/>
              </a:rPr>
              <a:t>项目成本管理</a:t>
            </a:r>
            <a:r>
              <a:rPr lang="zh-CN" altLang="en-US" sz="1800" smtClean="0">
                <a:latin typeface="Georgia" pitchFamily="18" charset="0"/>
              </a:rPr>
              <a:t>：算准钱和花好钱，不超支。</a:t>
            </a:r>
          </a:p>
          <a:p>
            <a:r>
              <a:rPr lang="zh-CN" altLang="en-US" sz="1800" smtClean="0">
                <a:latin typeface="Georgia" pitchFamily="18" charset="0"/>
              </a:rPr>
              <a:t>（5）</a:t>
            </a:r>
            <a:r>
              <a:rPr lang="zh-CN" altLang="en-US" sz="1800" b="1" smtClean="0">
                <a:solidFill>
                  <a:srgbClr val="0000FF"/>
                </a:solidFill>
                <a:latin typeface="Georgia" pitchFamily="18" charset="0"/>
              </a:rPr>
              <a:t>项目质量管理</a:t>
            </a:r>
            <a:r>
              <a:rPr lang="zh-CN" altLang="en-US" sz="1800" smtClean="0">
                <a:latin typeface="Georgia" pitchFamily="18" charset="0"/>
              </a:rPr>
              <a:t>：目的就是满足要求。</a:t>
            </a:r>
          </a:p>
          <a:p>
            <a:r>
              <a:rPr lang="zh-CN" altLang="en-US" sz="1800" smtClean="0">
                <a:latin typeface="Georgia" pitchFamily="18" charset="0"/>
              </a:rPr>
              <a:t>（6）</a:t>
            </a:r>
            <a:r>
              <a:rPr lang="zh-CN" altLang="en-US" sz="1800" b="1" smtClean="0">
                <a:solidFill>
                  <a:srgbClr val="0000FF"/>
                </a:solidFill>
                <a:latin typeface="Georgia" pitchFamily="18" charset="0"/>
              </a:rPr>
              <a:t>项目人力资源管理</a:t>
            </a:r>
            <a:r>
              <a:rPr lang="zh-CN" altLang="en-US" sz="1800" smtClean="0">
                <a:latin typeface="Georgia" pitchFamily="18" charset="0"/>
              </a:rPr>
              <a:t>：</a:t>
            </a:r>
            <a:r>
              <a:rPr lang="en-US" altLang="zh-CN" sz="1800" smtClean="0">
                <a:latin typeface="Georgia" pitchFamily="18" charset="0"/>
              </a:rPr>
              <a:t>IT</a:t>
            </a:r>
            <a:r>
              <a:rPr lang="zh-CN" altLang="en-US" sz="1800" smtClean="0">
                <a:latin typeface="Georgia" pitchFamily="18" charset="0"/>
              </a:rPr>
              <a:t>行业人才最重要，尤其是有“</a:t>
            </a:r>
            <a:r>
              <a:rPr lang="zh-CN" altLang="en-US" sz="1800" smtClean="0">
                <a:solidFill>
                  <a:srgbClr val="FF0000"/>
                </a:solidFill>
                <a:latin typeface="Georgia" pitchFamily="18" charset="0"/>
              </a:rPr>
              <a:t>软考证</a:t>
            </a:r>
            <a:r>
              <a:rPr lang="zh-CN" altLang="en-US" sz="1800" smtClean="0">
                <a:latin typeface="Georgia" pitchFamily="18" charset="0"/>
              </a:rPr>
              <a:t>”的人才！</a:t>
            </a:r>
          </a:p>
          <a:p>
            <a:r>
              <a:rPr lang="zh-CN" altLang="en-US" sz="1800" smtClean="0">
                <a:latin typeface="Georgia" pitchFamily="18" charset="0"/>
              </a:rPr>
              <a:t>（7）</a:t>
            </a:r>
            <a:r>
              <a:rPr lang="zh-CN" altLang="en-US" sz="1800" b="1" smtClean="0">
                <a:solidFill>
                  <a:srgbClr val="0000FF"/>
                </a:solidFill>
                <a:latin typeface="Georgia" pitchFamily="18" charset="0"/>
              </a:rPr>
              <a:t>项目沟通管理</a:t>
            </a:r>
            <a:r>
              <a:rPr lang="zh-CN" altLang="en-US" sz="1800" smtClean="0">
                <a:latin typeface="Georgia" pitchFamily="18" charset="0"/>
              </a:rPr>
              <a:t>：在正确的时间、由正确的人、把正确的信息、通过正确的方式、传送给正确的人、达成正确的沟通效果。（有效率、有效果）</a:t>
            </a:r>
          </a:p>
          <a:p>
            <a:r>
              <a:rPr lang="zh-CN" altLang="en-US" sz="1800" smtClean="0">
                <a:latin typeface="Georgia" pitchFamily="18" charset="0"/>
              </a:rPr>
              <a:t>（8）</a:t>
            </a:r>
            <a:r>
              <a:rPr lang="zh-CN" altLang="en-US" sz="1800" b="1" smtClean="0">
                <a:solidFill>
                  <a:srgbClr val="0000FF"/>
                </a:solidFill>
                <a:latin typeface="Georgia" pitchFamily="18" charset="0"/>
              </a:rPr>
              <a:t>项目风险管理</a:t>
            </a:r>
            <a:r>
              <a:rPr lang="zh-CN" altLang="en-US" sz="1800" smtClean="0">
                <a:latin typeface="Georgia" pitchFamily="18" charset="0"/>
              </a:rPr>
              <a:t>：“无事找事”，从而让项目“无险事”，防患于未然。</a:t>
            </a:r>
          </a:p>
          <a:p>
            <a:r>
              <a:rPr lang="zh-CN" altLang="en-US" sz="1800" smtClean="0">
                <a:latin typeface="Georgia" pitchFamily="18" charset="0"/>
              </a:rPr>
              <a:t>（9）</a:t>
            </a:r>
            <a:r>
              <a:rPr lang="zh-CN" altLang="en-US" sz="1800" b="1" smtClean="0">
                <a:solidFill>
                  <a:srgbClr val="0000FF"/>
                </a:solidFill>
                <a:latin typeface="Georgia" pitchFamily="18" charset="0"/>
              </a:rPr>
              <a:t>项目采购管理</a:t>
            </a:r>
            <a:r>
              <a:rPr lang="zh-CN" altLang="en-US" sz="1800" smtClean="0">
                <a:latin typeface="Georgia" pitchFamily="18" charset="0"/>
              </a:rPr>
              <a:t>：多方协作，做好采购。</a:t>
            </a:r>
          </a:p>
          <a:p>
            <a:r>
              <a:rPr lang="zh-CN" altLang="en-US" sz="1800" smtClean="0">
                <a:latin typeface="Georgia" pitchFamily="18" charset="0"/>
              </a:rPr>
              <a:t>（10）</a:t>
            </a:r>
            <a:r>
              <a:rPr lang="zh-CN" altLang="en-US" sz="1800" b="1" smtClean="0">
                <a:solidFill>
                  <a:srgbClr val="0000FF"/>
                </a:solidFill>
                <a:latin typeface="Georgia" pitchFamily="18" charset="0"/>
              </a:rPr>
              <a:t>项目干系人管理</a:t>
            </a:r>
            <a:r>
              <a:rPr lang="zh-CN" altLang="en-US" sz="1800" smtClean="0">
                <a:latin typeface="Georgia" pitchFamily="18" charset="0"/>
              </a:rPr>
              <a:t>：和项目干系人搞好关系并令其满意，取得理解和支持。</a:t>
            </a:r>
            <a:endParaRPr lang="zh-CN" altLang="en-US" smtClean="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A" val="v5.0.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nLKcxN2VUKjSxCeVC1Jd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2TT9y1vMUyXCSO3TYpAs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SRxLaIoLUq3BLV_K4Cz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QWo_Wz0c0eIq3eJLaK5qQ"/>
</p:tagLst>
</file>

<file path=ppt/tags/tag2.xml><?xml version="1.0" encoding="utf-8"?>
<p:tagLst xmlns:a="http://schemas.openxmlformats.org/drawingml/2006/main" xmlns:r="http://schemas.openxmlformats.org/officeDocument/2006/relationships" xmlns:p="http://schemas.openxmlformats.org/presentationml/2006/main">
  <p:tag name="PA" val="v5.0.5"/>
</p:tagLst>
</file>

<file path=ppt/tags/tag3.xml><?xml version="1.0" encoding="utf-8"?>
<p:tagLst xmlns:a="http://schemas.openxmlformats.org/drawingml/2006/main" xmlns:r="http://schemas.openxmlformats.org/officeDocument/2006/relationships" xmlns:p="http://schemas.openxmlformats.org/presentationml/2006/main">
  <p:tag name="PA" val="v5.0.5"/>
</p:tagLst>
</file>

<file path=ppt/tags/tag4.xml><?xml version="1.0" encoding="utf-8"?>
<p:tagLst xmlns:a="http://schemas.openxmlformats.org/drawingml/2006/main" xmlns:r="http://schemas.openxmlformats.org/officeDocument/2006/relationships" xmlns:p="http://schemas.openxmlformats.org/presentationml/2006/main">
  <p:tag name="PA" val="v5.0.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w4Djv2JgketNeI_lqgx1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U8Q8xffmUqqA21ev9BU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tRiDhf3JUSOy_xvQMed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SH7YFu1ukaJrXV_p64a1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D_5iqARtEqenGRuUeu8ug"/>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2">
      <a:majorFont>
        <a:latin typeface="Tw Cen MT"/>
        <a:ea typeface="微软雅黑"/>
        <a:cs typeface=""/>
      </a:majorFont>
      <a:minorFont>
        <a:latin typeface="Tw Cen MT"/>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4</TotalTime>
  <Words>4173</Words>
  <Application>Microsoft Office PowerPoint</Application>
  <PresentationFormat>自定义</PresentationFormat>
  <Paragraphs>509</Paragraphs>
  <Slides>37</Slides>
  <Notes>23</Notes>
  <HiddenSlides>0</HiddenSlides>
  <MMClips>0</MMClips>
  <ScaleCrop>false</ScaleCrop>
  <HeadingPairs>
    <vt:vector size="4" baseType="variant">
      <vt:variant>
        <vt:lpstr>主题</vt:lpstr>
      </vt:variant>
      <vt:variant>
        <vt:i4>1</vt:i4>
      </vt:variant>
      <vt:variant>
        <vt:lpstr>幻灯片标题</vt:lpstr>
      </vt:variant>
      <vt:variant>
        <vt:i4>37</vt:i4>
      </vt:variant>
    </vt:vector>
  </HeadingPairs>
  <TitlesOfParts>
    <vt:vector size="38" baseType="lpstr">
      <vt:lpstr>Office 主题</vt:lpstr>
      <vt:lpstr>PowerPoint 演示文稿</vt:lpstr>
      <vt:lpstr>九阳神功</vt:lpstr>
      <vt:lpstr>PowerPoint 演示文稿</vt:lpstr>
      <vt:lpstr>PowerPoint 演示文稿</vt:lpstr>
      <vt:lpstr>一切皆项目</vt:lpstr>
      <vt:lpstr>软考中的项目管理部分，是来自于PMBOK®</vt:lpstr>
      <vt:lpstr>软考的五大过程组、十大知识管理域</vt:lpstr>
      <vt:lpstr>PowerPoint 演示文稿</vt:lpstr>
      <vt:lpstr>十大知识领域：</vt:lpstr>
      <vt:lpstr>PowerPoint 演示文稿</vt:lpstr>
      <vt:lpstr>道德与专业行为规范</vt:lpstr>
      <vt:lpstr>道德与专业行为规范</vt:lpstr>
      <vt:lpstr>PowerPoint 演示文稿</vt:lpstr>
      <vt:lpstr>PowerPoint 演示文稿</vt:lpstr>
      <vt:lpstr>项目的目标，目标（结果）导向，过程控制</vt:lpstr>
      <vt:lpstr>项目管理的重要性</vt:lpstr>
      <vt:lpstr>项目管理的本质内涵：认识本质、找出规律、有效管控</vt:lpstr>
      <vt:lpstr>PowerPoint 演示文稿</vt:lpstr>
      <vt:lpstr>项目、项目组合、项目集之间的关系</vt:lpstr>
      <vt:lpstr>运营管理</vt:lpstr>
      <vt:lpstr>项目管理与运营管理之间的区别、联系</vt:lpstr>
      <vt:lpstr>战略、项目组合、项目集、项目和运营</vt:lpstr>
      <vt:lpstr>项目和开发生命周期</vt:lpstr>
      <vt:lpstr>PowerPoint 演示文稿</vt:lpstr>
      <vt:lpstr>预测型与适应型生命周期比较</vt:lpstr>
      <vt:lpstr>项目阶段与项目生命周期的特征</vt:lpstr>
      <vt:lpstr>PowerPoint 演示文稿</vt:lpstr>
      <vt:lpstr>PowerPoint 演示文稿</vt:lpstr>
      <vt:lpstr>项目管理过程</vt:lpstr>
      <vt:lpstr>项目管理过程</vt:lpstr>
      <vt:lpstr>项目管理过程组</vt:lpstr>
      <vt:lpstr>项目管理知识领域</vt:lpstr>
      <vt:lpstr>PowerPoint 演示文稿</vt:lpstr>
      <vt:lpstr>项目管理知识领域</vt:lpstr>
      <vt:lpstr>项目管理数据和信息</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yali cao</dc:creator>
  <cp:lastModifiedBy>薛大龙</cp:lastModifiedBy>
  <cp:revision>289</cp:revision>
  <dcterms:created xsi:type="dcterms:W3CDTF">2016-09-12T07:04:00Z</dcterms:created>
  <dcterms:modified xsi:type="dcterms:W3CDTF">2018-12-06T06:4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002</vt:lpwstr>
  </property>
</Properties>
</file>